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530" r:id="rId5"/>
    <p:sldId id="2147480963" r:id="rId6"/>
    <p:sldId id="2147480964" r:id="rId7"/>
    <p:sldId id="214748096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BB2E2E-EA38-0C14-1E6B-CB4CCC86E229}" name="Catalina Nicolescu" initials="CN" userId="S::catalina.nicolescu@ro.ey.com::6fcc1883-26fc-403d-a6f0-37ae01e7bcd0" providerId="AD"/>
  <p188:author id="{7D578F53-D955-EF99-561D-7ECA726BDD0D}" name="Anca Albu" initials="ALA" userId="Anca Albu" providerId="None"/>
  <p188:author id="{F1AC5064-8E02-5155-3B64-01A74970B179}" name="Catalina Nicolescu" initials="CN" userId="S::Catalina.Nicolescu@ro.ey.com::6fcc1883-26fc-403d-a6f0-37ae01e7bcd0" providerId="AD"/>
  <p188:author id="{3612ED7F-C1D4-3124-A358-DAD15BB728DF}" name="ICE" initials="IC" userId="S::ice@365.univ-ovidius.ro::43435acf-7277-4c7b-a721-c400251d913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73A6"/>
    <a:srgbClr val="F19C78"/>
    <a:srgbClr val="8DD7D0"/>
    <a:srgbClr val="51B395"/>
    <a:srgbClr val="50B4A8"/>
    <a:srgbClr val="66BEB4"/>
    <a:srgbClr val="2CB5B2"/>
    <a:srgbClr val="009999"/>
    <a:srgbClr val="33CCCC"/>
    <a:srgbClr val="E999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44BEBB-796B-F731-00D6-4BA3D7ACFB0B}" v="14" dt="2025-11-11T22:10:09.221"/>
    <p1510:client id="{8D0E3B67-F3C0-92DC-BCDC-560E81C8BC35}" v="30" dt="2025-11-11T22:07:59.783"/>
  </p1510:revLst>
</p1510:revInfo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197" y="2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briela Badea" userId="S::mg.badea@365.univ-ovidius.ro::02a423b5-87ed-4e99-b04b-fead82662217" providerId="AD" clId="Web-{8D0E3B67-F3C0-92DC-BCDC-560E81C8BC35}"/>
    <pc:docChg chg="modSld">
      <pc:chgData name="Gabriela Badea" userId="S::mg.badea@365.univ-ovidius.ro::02a423b5-87ed-4e99-b04b-fead82662217" providerId="AD" clId="Web-{8D0E3B67-F3C0-92DC-BCDC-560E81C8BC35}" dt="2025-11-11T22:07:59.783" v="14" actId="20577"/>
      <pc:docMkLst>
        <pc:docMk/>
      </pc:docMkLst>
      <pc:sldChg chg="modSp">
        <pc:chgData name="Gabriela Badea" userId="S::mg.badea@365.univ-ovidius.ro::02a423b5-87ed-4e99-b04b-fead82662217" providerId="AD" clId="Web-{8D0E3B67-F3C0-92DC-BCDC-560E81C8BC35}" dt="2025-11-11T22:07:59.783" v="14" actId="20577"/>
        <pc:sldMkLst>
          <pc:docMk/>
          <pc:sldMk cId="500959544" sldId="2147480963"/>
        </pc:sldMkLst>
        <pc:spChg chg="mod">
          <ac:chgData name="Gabriela Badea" userId="S::mg.badea@365.univ-ovidius.ro::02a423b5-87ed-4e99-b04b-fead82662217" providerId="AD" clId="Web-{8D0E3B67-F3C0-92DC-BCDC-560E81C8BC35}" dt="2025-11-11T22:07:59.783" v="14" actId="20577"/>
          <ac:spMkLst>
            <pc:docMk/>
            <pc:sldMk cId="500959544" sldId="2147480963"/>
            <ac:spMk id="2" creationId="{BFA74580-D0B5-53BA-875E-6809E3537A2E}"/>
          </ac:spMkLst>
        </pc:spChg>
      </pc:sldChg>
    </pc:docChg>
  </pc:docChgLst>
  <pc:docChgLst>
    <pc:chgData name="Gabriela Badea" userId="S::mg.badea@365.univ-ovidius.ro::02a423b5-87ed-4e99-b04b-fead82662217" providerId="AD" clId="Web-{5644BEBB-796B-F731-00D6-4BA3D7ACFB0B}"/>
    <pc:docChg chg="modSld">
      <pc:chgData name="Gabriela Badea" userId="S::mg.badea@365.univ-ovidius.ro::02a423b5-87ed-4e99-b04b-fead82662217" providerId="AD" clId="Web-{5644BEBB-796B-F731-00D6-4BA3D7ACFB0B}" dt="2025-11-11T22:10:09.206" v="8" actId="20577"/>
      <pc:docMkLst>
        <pc:docMk/>
      </pc:docMkLst>
      <pc:sldChg chg="modSp">
        <pc:chgData name="Gabriela Badea" userId="S::mg.badea@365.univ-ovidius.ro::02a423b5-87ed-4e99-b04b-fead82662217" providerId="AD" clId="Web-{5644BEBB-796B-F731-00D6-4BA3D7ACFB0B}" dt="2025-11-11T22:10:09.206" v="8" actId="20577"/>
        <pc:sldMkLst>
          <pc:docMk/>
          <pc:sldMk cId="500959544" sldId="2147480963"/>
        </pc:sldMkLst>
        <pc:spChg chg="mod">
          <ac:chgData name="Gabriela Badea" userId="S::mg.badea@365.univ-ovidius.ro::02a423b5-87ed-4e99-b04b-fead82662217" providerId="AD" clId="Web-{5644BEBB-796B-F731-00D6-4BA3D7ACFB0B}" dt="2025-11-11T22:10:09.206" v="8" actId="20577"/>
          <ac:spMkLst>
            <pc:docMk/>
            <pc:sldMk cId="500959544" sldId="2147480963"/>
            <ac:spMk id="2" creationId="{BFA74580-D0B5-53BA-875E-6809E3537A2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427FCDB-4A7A-011A-A9BE-D103445330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C346C-0654-078B-75B1-A958DCF8F0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3BCA86-2ADC-49B9-9BBE-82D037C5C1B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C7FD82-2890-0944-D95F-BCBEF07C9E1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01F093-AE88-E0B4-92FC-18BBAF2A6D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276B9E-81A7-46A4-ADA9-D63DAACC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2610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92A58-2DC2-4C6A-B114-49FB2E75AAF8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20CAB-5370-4C2C-88DE-E6179BF3E5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837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3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>
            <a:extLst>
              <a:ext uri="{FF2B5EF4-FFF2-40B4-BE49-F238E27FC236}">
                <a16:creationId xmlns:a16="http://schemas.microsoft.com/office/drawing/2014/main" id="{F51FEA09-E4BD-0741-D624-EED4A231C599}"/>
              </a:ext>
            </a:extLst>
          </p:cNvPr>
          <p:cNvSpPr/>
          <p:nvPr userDrawn="1"/>
        </p:nvSpPr>
        <p:spPr>
          <a:xfrm rot="10800000">
            <a:off x="853427" y="5650992"/>
            <a:ext cx="6821472" cy="1207007"/>
          </a:xfrm>
          <a:custGeom>
            <a:avLst/>
            <a:gdLst>
              <a:gd name="connsiteX0" fmla="*/ 2449167 w 4758726"/>
              <a:gd name="connsiteY0" fmla="*/ 841961 h 842020"/>
              <a:gd name="connsiteX1" fmla="*/ 12024 w 4758726"/>
              <a:gd name="connsiteY1" fmla="*/ 11254 h 842020"/>
              <a:gd name="connsiteX2" fmla="*/ 0 w 4758726"/>
              <a:gd name="connsiteY2" fmla="*/ 0 h 842020"/>
              <a:gd name="connsiteX3" fmla="*/ 4758726 w 4758726"/>
              <a:gd name="connsiteY3" fmla="*/ 0 h 842020"/>
              <a:gd name="connsiteX4" fmla="*/ 4526601 w 4758726"/>
              <a:gd name="connsiteY4" fmla="*/ 141635 h 842020"/>
              <a:gd name="connsiteX5" fmla="*/ 2449167 w 4758726"/>
              <a:gd name="connsiteY5" fmla="*/ 841961 h 84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8726" h="842020">
                <a:moveTo>
                  <a:pt x="2449167" y="841961"/>
                </a:moveTo>
                <a:cubicBezTo>
                  <a:pt x="1373800" y="847496"/>
                  <a:pt x="537447" y="464031"/>
                  <a:pt x="12024" y="11254"/>
                </a:cubicBezTo>
                <a:lnTo>
                  <a:pt x="0" y="0"/>
                </a:lnTo>
                <a:lnTo>
                  <a:pt x="4758726" y="0"/>
                </a:lnTo>
                <a:lnTo>
                  <a:pt x="4526601" y="141635"/>
                </a:lnTo>
                <a:cubicBezTo>
                  <a:pt x="3913845" y="510819"/>
                  <a:pt x="3285564" y="837657"/>
                  <a:pt x="2449167" y="841961"/>
                </a:cubicBezTo>
                <a:close/>
              </a:path>
            </a:pathLst>
          </a:custGeom>
          <a:gradFill>
            <a:gsLst>
              <a:gs pos="0">
                <a:schemeClr val="tx2">
                  <a:alpha val="0"/>
                </a:schemeClr>
              </a:gs>
              <a:gs pos="99000">
                <a:schemeClr val="accent3">
                  <a:alpha val="71647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B707B5BA-AB15-D1EF-EBC5-F38FCE20FC52}"/>
              </a:ext>
            </a:extLst>
          </p:cNvPr>
          <p:cNvSpPr/>
          <p:nvPr userDrawn="1"/>
        </p:nvSpPr>
        <p:spPr>
          <a:xfrm rot="710202" flipV="1">
            <a:off x="-145573" y="4175628"/>
            <a:ext cx="6040006" cy="3240870"/>
          </a:xfrm>
          <a:custGeom>
            <a:avLst/>
            <a:gdLst>
              <a:gd name="connsiteX0" fmla="*/ 480125 w 6747252"/>
              <a:gd name="connsiteY0" fmla="*/ 0 h 3620355"/>
              <a:gd name="connsiteX1" fmla="*/ 6747252 w 6747252"/>
              <a:gd name="connsiteY1" fmla="*/ 1313462 h 3620355"/>
              <a:gd name="connsiteX2" fmla="*/ 6355443 w 6747252"/>
              <a:gd name="connsiteY2" fmla="*/ 1443581 h 3620355"/>
              <a:gd name="connsiteX3" fmla="*/ 4058536 w 6747252"/>
              <a:gd name="connsiteY3" fmla="*/ 2678500 h 3620355"/>
              <a:gd name="connsiteX4" fmla="*/ 33178 w 6747252"/>
              <a:gd name="connsiteY4" fmla="*/ 2369641 h 3620355"/>
              <a:gd name="connsiteX5" fmla="*/ 0 w 6747252"/>
              <a:gd name="connsiteY5" fmla="*/ 2290898 h 3620355"/>
              <a:gd name="connsiteX6" fmla="*/ 480125 w 6747252"/>
              <a:gd name="connsiteY6" fmla="*/ 0 h 362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252" h="3620355">
                <a:moveTo>
                  <a:pt x="480125" y="0"/>
                </a:moveTo>
                <a:lnTo>
                  <a:pt x="6747252" y="1313462"/>
                </a:lnTo>
                <a:lnTo>
                  <a:pt x="6355443" y="1443581"/>
                </a:lnTo>
                <a:cubicBezTo>
                  <a:pt x="5476828" y="1758684"/>
                  <a:pt x="4659690" y="2192443"/>
                  <a:pt x="4058536" y="2678500"/>
                </a:cubicBezTo>
                <a:cubicBezTo>
                  <a:pt x="2102261" y="4268418"/>
                  <a:pt x="625747" y="3626023"/>
                  <a:pt x="33178" y="2369641"/>
                </a:cubicBezTo>
                <a:lnTo>
                  <a:pt x="0" y="2290898"/>
                </a:lnTo>
                <a:lnTo>
                  <a:pt x="480125" y="0"/>
                </a:lnTo>
                <a:close/>
              </a:path>
            </a:pathLst>
          </a:custGeom>
          <a:gradFill flip="none" rotWithShape="1">
            <a:gsLst>
              <a:gs pos="97000">
                <a:schemeClr val="accent3">
                  <a:lumMod val="50000"/>
                  <a:alpha val="21210"/>
                </a:schemeClr>
              </a:gs>
              <a:gs pos="72000">
                <a:schemeClr val="accent4">
                  <a:lumMod val="50000"/>
                </a:schemeClr>
              </a:gs>
              <a:gs pos="3000">
                <a:schemeClr val="accent6">
                  <a:alpha val="53787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eeform 1">
            <a:extLst>
              <a:ext uri="{FF2B5EF4-FFF2-40B4-BE49-F238E27FC236}">
                <a16:creationId xmlns:a16="http://schemas.microsoft.com/office/drawing/2014/main" id="{0319ECD0-7050-C18F-AC35-7F8DFA288A58}"/>
              </a:ext>
            </a:extLst>
          </p:cNvPr>
          <p:cNvSpPr/>
          <p:nvPr userDrawn="1"/>
        </p:nvSpPr>
        <p:spPr>
          <a:xfrm>
            <a:off x="-24334" y="1"/>
            <a:ext cx="12218982" cy="6860673"/>
          </a:xfrm>
          <a:custGeom>
            <a:avLst/>
            <a:gdLst>
              <a:gd name="connsiteX0" fmla="*/ 4456 w 12218982"/>
              <a:gd name="connsiteY0" fmla="*/ 0 h 6860673"/>
              <a:gd name="connsiteX1" fmla="*/ 3150735 w 12218982"/>
              <a:gd name="connsiteY1" fmla="*/ 0 h 6860673"/>
              <a:gd name="connsiteX2" fmla="*/ 3150734 w 12218982"/>
              <a:gd name="connsiteY2" fmla="*/ 1 h 6860673"/>
              <a:gd name="connsiteX3" fmla="*/ 3275209 w 12218982"/>
              <a:gd name="connsiteY3" fmla="*/ 1 h 6860673"/>
              <a:gd name="connsiteX4" fmla="*/ 3275209 w 12218982"/>
              <a:gd name="connsiteY4" fmla="*/ 0 h 6860673"/>
              <a:gd name="connsiteX5" fmla="*/ 12218982 w 12218982"/>
              <a:gd name="connsiteY5" fmla="*/ 0 h 6860673"/>
              <a:gd name="connsiteX6" fmla="*/ 12218982 w 12218982"/>
              <a:gd name="connsiteY6" fmla="*/ 1983013 h 6860673"/>
              <a:gd name="connsiteX7" fmla="*/ 12062259 w 12218982"/>
              <a:gd name="connsiteY7" fmla="*/ 2024385 h 6860673"/>
              <a:gd name="connsiteX8" fmla="*/ 10972986 w 12218982"/>
              <a:gd name="connsiteY8" fmla="*/ 2139627 h 6860673"/>
              <a:gd name="connsiteX9" fmla="*/ 5417726 w 12218982"/>
              <a:gd name="connsiteY9" fmla="*/ 115939 h 6860673"/>
              <a:gd name="connsiteX10" fmla="*/ 5011629 w 12218982"/>
              <a:gd name="connsiteY10" fmla="*/ 121918 h 6860673"/>
              <a:gd name="connsiteX11" fmla="*/ 4783396 w 12218982"/>
              <a:gd name="connsiteY11" fmla="*/ 139697 h 6860673"/>
              <a:gd name="connsiteX12" fmla="*/ 4570293 w 12218982"/>
              <a:gd name="connsiteY12" fmla="*/ 145085 h 6860673"/>
              <a:gd name="connsiteX13" fmla="*/ 692864 w 12218982"/>
              <a:gd name="connsiteY13" fmla="*/ 2723368 h 6860673"/>
              <a:gd name="connsiteX14" fmla="*/ 653810 w 12218982"/>
              <a:gd name="connsiteY14" fmla="*/ 2809752 h 6860673"/>
              <a:gd name="connsiteX15" fmla="*/ 633474 w 12218982"/>
              <a:gd name="connsiteY15" fmla="*/ 2851993 h 6860673"/>
              <a:gd name="connsiteX16" fmla="*/ 551923 w 12218982"/>
              <a:gd name="connsiteY16" fmla="*/ 3041708 h 6860673"/>
              <a:gd name="connsiteX17" fmla="*/ 532245 w 12218982"/>
              <a:gd name="connsiteY17" fmla="*/ 3101107 h 6860673"/>
              <a:gd name="connsiteX18" fmla="*/ 519820 w 12218982"/>
              <a:gd name="connsiteY18" fmla="*/ 3132620 h 6860673"/>
              <a:gd name="connsiteX19" fmla="*/ 242995 w 12218982"/>
              <a:gd name="connsiteY19" fmla="*/ 4701210 h 6860673"/>
              <a:gd name="connsiteX20" fmla="*/ 692864 w 12218982"/>
              <a:gd name="connsiteY20" fmla="*/ 6679052 h 6860673"/>
              <a:gd name="connsiteX21" fmla="*/ 784515 w 12218982"/>
              <a:gd name="connsiteY21" fmla="*/ 6858000 h 6860673"/>
              <a:gd name="connsiteX22" fmla="*/ 341340 w 12218982"/>
              <a:gd name="connsiteY22" fmla="*/ 6858000 h 6860673"/>
              <a:gd name="connsiteX23" fmla="*/ 341340 w 12218982"/>
              <a:gd name="connsiteY23" fmla="*/ 6860673 h 6860673"/>
              <a:gd name="connsiteX24" fmla="*/ 4456 w 12218982"/>
              <a:gd name="connsiteY24" fmla="*/ 6860673 h 6860673"/>
              <a:gd name="connsiteX25" fmla="*/ 4456 w 12218982"/>
              <a:gd name="connsiteY25" fmla="*/ 2794000 h 6860673"/>
              <a:gd name="connsiteX26" fmla="*/ 0 w 12218982"/>
              <a:gd name="connsiteY26" fmla="*/ 2794000 h 6860673"/>
              <a:gd name="connsiteX27" fmla="*/ 0 w 12218982"/>
              <a:gd name="connsiteY27" fmla="*/ 2022550 h 6860673"/>
              <a:gd name="connsiteX28" fmla="*/ 4456 w 12218982"/>
              <a:gd name="connsiteY28" fmla="*/ 2022550 h 6860673"/>
              <a:gd name="connsiteX29" fmla="*/ 4456 w 12218982"/>
              <a:gd name="connsiteY29" fmla="*/ 1646989 h 6860673"/>
              <a:gd name="connsiteX30" fmla="*/ 4456 w 12218982"/>
              <a:gd name="connsiteY30" fmla="*/ 0 h 686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218982" h="6860673">
                <a:moveTo>
                  <a:pt x="4456" y="0"/>
                </a:moveTo>
                <a:lnTo>
                  <a:pt x="3150735" y="0"/>
                </a:lnTo>
                <a:lnTo>
                  <a:pt x="3150734" y="1"/>
                </a:lnTo>
                <a:lnTo>
                  <a:pt x="3275209" y="1"/>
                </a:lnTo>
                <a:lnTo>
                  <a:pt x="3275209" y="0"/>
                </a:lnTo>
                <a:lnTo>
                  <a:pt x="12218982" y="0"/>
                </a:lnTo>
                <a:lnTo>
                  <a:pt x="12218982" y="1983013"/>
                </a:lnTo>
                <a:lnTo>
                  <a:pt x="12062259" y="2024385"/>
                </a:lnTo>
                <a:cubicBezTo>
                  <a:pt x="11728036" y="2099441"/>
                  <a:pt x="11364094" y="2141640"/>
                  <a:pt x="10972986" y="2139627"/>
                </a:cubicBezTo>
                <a:cubicBezTo>
                  <a:pt x="8748018" y="2128176"/>
                  <a:pt x="7788484" y="155587"/>
                  <a:pt x="5417726" y="115939"/>
                </a:cubicBezTo>
                <a:cubicBezTo>
                  <a:pt x="5278815" y="113616"/>
                  <a:pt x="5143479" y="115764"/>
                  <a:pt x="5011629" y="121918"/>
                </a:cubicBezTo>
                <a:lnTo>
                  <a:pt x="4783396" y="139697"/>
                </a:lnTo>
                <a:lnTo>
                  <a:pt x="4570293" y="145085"/>
                </a:lnTo>
                <a:cubicBezTo>
                  <a:pt x="2859647" y="231798"/>
                  <a:pt x="1397605" y="1260791"/>
                  <a:pt x="692864" y="2723368"/>
                </a:cubicBezTo>
                <a:lnTo>
                  <a:pt x="653810" y="2809752"/>
                </a:lnTo>
                <a:lnTo>
                  <a:pt x="633474" y="2851993"/>
                </a:lnTo>
                <a:cubicBezTo>
                  <a:pt x="600933" y="2920155"/>
                  <a:pt x="575052" y="2977311"/>
                  <a:pt x="551923" y="3041708"/>
                </a:cubicBezTo>
                <a:lnTo>
                  <a:pt x="532245" y="3101107"/>
                </a:lnTo>
                <a:lnTo>
                  <a:pt x="519820" y="3132620"/>
                </a:lnTo>
                <a:cubicBezTo>
                  <a:pt x="340732" y="3621732"/>
                  <a:pt x="242995" y="4150057"/>
                  <a:pt x="242995" y="4701210"/>
                </a:cubicBezTo>
                <a:cubicBezTo>
                  <a:pt x="242995" y="5409836"/>
                  <a:pt x="404560" y="6080725"/>
                  <a:pt x="692864" y="6679052"/>
                </a:cubicBezTo>
                <a:lnTo>
                  <a:pt x="784515" y="6858000"/>
                </a:lnTo>
                <a:lnTo>
                  <a:pt x="341340" y="6858000"/>
                </a:lnTo>
                <a:lnTo>
                  <a:pt x="341340" y="6860673"/>
                </a:lnTo>
                <a:lnTo>
                  <a:pt x="4456" y="6860673"/>
                </a:lnTo>
                <a:lnTo>
                  <a:pt x="4456" y="2794000"/>
                </a:lnTo>
                <a:lnTo>
                  <a:pt x="0" y="2794000"/>
                </a:lnTo>
                <a:lnTo>
                  <a:pt x="0" y="2022550"/>
                </a:lnTo>
                <a:lnTo>
                  <a:pt x="4456" y="2022550"/>
                </a:lnTo>
                <a:lnTo>
                  <a:pt x="4456" y="1646989"/>
                </a:lnTo>
                <a:lnTo>
                  <a:pt x="4456" y="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31889"/>
                </a:schemeClr>
              </a:gs>
              <a:gs pos="77000">
                <a:schemeClr val="accent3">
                  <a:lumMod val="25000"/>
                  <a:alpha val="0"/>
                </a:schemeClr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Freeform 3">
            <a:extLst>
              <a:ext uri="{FF2B5EF4-FFF2-40B4-BE49-F238E27FC236}">
                <a16:creationId xmlns:a16="http://schemas.microsoft.com/office/drawing/2014/main" id="{332954FC-1C1B-B277-413F-3CBA66FD1EAD}"/>
              </a:ext>
            </a:extLst>
          </p:cNvPr>
          <p:cNvSpPr/>
          <p:nvPr userDrawn="1"/>
        </p:nvSpPr>
        <p:spPr>
          <a:xfrm flipH="1" flipV="1">
            <a:off x="-26982" y="9939"/>
            <a:ext cx="12218982" cy="6860673"/>
          </a:xfrm>
          <a:custGeom>
            <a:avLst/>
            <a:gdLst>
              <a:gd name="connsiteX0" fmla="*/ 4456 w 12218982"/>
              <a:gd name="connsiteY0" fmla="*/ 0 h 6860673"/>
              <a:gd name="connsiteX1" fmla="*/ 3150735 w 12218982"/>
              <a:gd name="connsiteY1" fmla="*/ 0 h 6860673"/>
              <a:gd name="connsiteX2" fmla="*/ 3150734 w 12218982"/>
              <a:gd name="connsiteY2" fmla="*/ 1 h 6860673"/>
              <a:gd name="connsiteX3" fmla="*/ 3275209 w 12218982"/>
              <a:gd name="connsiteY3" fmla="*/ 1 h 6860673"/>
              <a:gd name="connsiteX4" fmla="*/ 3275209 w 12218982"/>
              <a:gd name="connsiteY4" fmla="*/ 0 h 6860673"/>
              <a:gd name="connsiteX5" fmla="*/ 12218982 w 12218982"/>
              <a:gd name="connsiteY5" fmla="*/ 0 h 6860673"/>
              <a:gd name="connsiteX6" fmla="*/ 12218982 w 12218982"/>
              <a:gd name="connsiteY6" fmla="*/ 1983013 h 6860673"/>
              <a:gd name="connsiteX7" fmla="*/ 12062259 w 12218982"/>
              <a:gd name="connsiteY7" fmla="*/ 2024385 h 6860673"/>
              <a:gd name="connsiteX8" fmla="*/ 10972986 w 12218982"/>
              <a:gd name="connsiteY8" fmla="*/ 2139627 h 6860673"/>
              <a:gd name="connsiteX9" fmla="*/ 5417726 w 12218982"/>
              <a:gd name="connsiteY9" fmla="*/ 115939 h 6860673"/>
              <a:gd name="connsiteX10" fmla="*/ 5011629 w 12218982"/>
              <a:gd name="connsiteY10" fmla="*/ 121918 h 6860673"/>
              <a:gd name="connsiteX11" fmla="*/ 4783396 w 12218982"/>
              <a:gd name="connsiteY11" fmla="*/ 139697 h 6860673"/>
              <a:gd name="connsiteX12" fmla="*/ 4570293 w 12218982"/>
              <a:gd name="connsiteY12" fmla="*/ 145085 h 6860673"/>
              <a:gd name="connsiteX13" fmla="*/ 692864 w 12218982"/>
              <a:gd name="connsiteY13" fmla="*/ 2723368 h 6860673"/>
              <a:gd name="connsiteX14" fmla="*/ 653810 w 12218982"/>
              <a:gd name="connsiteY14" fmla="*/ 2809752 h 6860673"/>
              <a:gd name="connsiteX15" fmla="*/ 633474 w 12218982"/>
              <a:gd name="connsiteY15" fmla="*/ 2851993 h 6860673"/>
              <a:gd name="connsiteX16" fmla="*/ 551923 w 12218982"/>
              <a:gd name="connsiteY16" fmla="*/ 3041708 h 6860673"/>
              <a:gd name="connsiteX17" fmla="*/ 532245 w 12218982"/>
              <a:gd name="connsiteY17" fmla="*/ 3101107 h 6860673"/>
              <a:gd name="connsiteX18" fmla="*/ 519820 w 12218982"/>
              <a:gd name="connsiteY18" fmla="*/ 3132620 h 6860673"/>
              <a:gd name="connsiteX19" fmla="*/ 242995 w 12218982"/>
              <a:gd name="connsiteY19" fmla="*/ 4701210 h 6860673"/>
              <a:gd name="connsiteX20" fmla="*/ 692864 w 12218982"/>
              <a:gd name="connsiteY20" fmla="*/ 6679052 h 6860673"/>
              <a:gd name="connsiteX21" fmla="*/ 784515 w 12218982"/>
              <a:gd name="connsiteY21" fmla="*/ 6858000 h 6860673"/>
              <a:gd name="connsiteX22" fmla="*/ 341340 w 12218982"/>
              <a:gd name="connsiteY22" fmla="*/ 6858000 h 6860673"/>
              <a:gd name="connsiteX23" fmla="*/ 341340 w 12218982"/>
              <a:gd name="connsiteY23" fmla="*/ 6860673 h 6860673"/>
              <a:gd name="connsiteX24" fmla="*/ 4456 w 12218982"/>
              <a:gd name="connsiteY24" fmla="*/ 6860673 h 6860673"/>
              <a:gd name="connsiteX25" fmla="*/ 4456 w 12218982"/>
              <a:gd name="connsiteY25" fmla="*/ 2794000 h 6860673"/>
              <a:gd name="connsiteX26" fmla="*/ 0 w 12218982"/>
              <a:gd name="connsiteY26" fmla="*/ 2794000 h 6860673"/>
              <a:gd name="connsiteX27" fmla="*/ 0 w 12218982"/>
              <a:gd name="connsiteY27" fmla="*/ 2022550 h 6860673"/>
              <a:gd name="connsiteX28" fmla="*/ 4456 w 12218982"/>
              <a:gd name="connsiteY28" fmla="*/ 2022550 h 6860673"/>
              <a:gd name="connsiteX29" fmla="*/ 4456 w 12218982"/>
              <a:gd name="connsiteY29" fmla="*/ 1646989 h 6860673"/>
              <a:gd name="connsiteX30" fmla="*/ 4456 w 12218982"/>
              <a:gd name="connsiteY30" fmla="*/ 0 h 686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218982" h="6860673">
                <a:moveTo>
                  <a:pt x="4456" y="0"/>
                </a:moveTo>
                <a:lnTo>
                  <a:pt x="3150735" y="0"/>
                </a:lnTo>
                <a:lnTo>
                  <a:pt x="3150734" y="1"/>
                </a:lnTo>
                <a:lnTo>
                  <a:pt x="3275209" y="1"/>
                </a:lnTo>
                <a:lnTo>
                  <a:pt x="3275209" y="0"/>
                </a:lnTo>
                <a:lnTo>
                  <a:pt x="12218982" y="0"/>
                </a:lnTo>
                <a:lnTo>
                  <a:pt x="12218982" y="1983013"/>
                </a:lnTo>
                <a:lnTo>
                  <a:pt x="12062259" y="2024385"/>
                </a:lnTo>
                <a:cubicBezTo>
                  <a:pt x="11728036" y="2099441"/>
                  <a:pt x="11364094" y="2141640"/>
                  <a:pt x="10972986" y="2139627"/>
                </a:cubicBezTo>
                <a:cubicBezTo>
                  <a:pt x="8748018" y="2128176"/>
                  <a:pt x="7788484" y="155587"/>
                  <a:pt x="5417726" y="115939"/>
                </a:cubicBezTo>
                <a:cubicBezTo>
                  <a:pt x="5278815" y="113616"/>
                  <a:pt x="5143479" y="115764"/>
                  <a:pt x="5011629" y="121918"/>
                </a:cubicBezTo>
                <a:lnTo>
                  <a:pt x="4783396" y="139697"/>
                </a:lnTo>
                <a:lnTo>
                  <a:pt x="4570293" y="145085"/>
                </a:lnTo>
                <a:cubicBezTo>
                  <a:pt x="2859647" y="231798"/>
                  <a:pt x="1397605" y="1260791"/>
                  <a:pt x="692864" y="2723368"/>
                </a:cubicBezTo>
                <a:lnTo>
                  <a:pt x="653810" y="2809752"/>
                </a:lnTo>
                <a:lnTo>
                  <a:pt x="633474" y="2851993"/>
                </a:lnTo>
                <a:cubicBezTo>
                  <a:pt x="600933" y="2920155"/>
                  <a:pt x="575052" y="2977311"/>
                  <a:pt x="551923" y="3041708"/>
                </a:cubicBezTo>
                <a:lnTo>
                  <a:pt x="532245" y="3101107"/>
                </a:lnTo>
                <a:lnTo>
                  <a:pt x="519820" y="3132620"/>
                </a:lnTo>
                <a:cubicBezTo>
                  <a:pt x="340732" y="3621732"/>
                  <a:pt x="242995" y="4150057"/>
                  <a:pt x="242995" y="4701210"/>
                </a:cubicBezTo>
                <a:cubicBezTo>
                  <a:pt x="242995" y="5409836"/>
                  <a:pt x="404560" y="6080725"/>
                  <a:pt x="692864" y="6679052"/>
                </a:cubicBezTo>
                <a:lnTo>
                  <a:pt x="784515" y="6858000"/>
                </a:lnTo>
                <a:lnTo>
                  <a:pt x="341340" y="6858000"/>
                </a:lnTo>
                <a:lnTo>
                  <a:pt x="341340" y="6860673"/>
                </a:lnTo>
                <a:lnTo>
                  <a:pt x="4456" y="6860673"/>
                </a:lnTo>
                <a:lnTo>
                  <a:pt x="4456" y="2794000"/>
                </a:lnTo>
                <a:lnTo>
                  <a:pt x="0" y="2794000"/>
                </a:lnTo>
                <a:lnTo>
                  <a:pt x="0" y="2022550"/>
                </a:lnTo>
                <a:lnTo>
                  <a:pt x="4456" y="2022550"/>
                </a:lnTo>
                <a:lnTo>
                  <a:pt x="4456" y="1646989"/>
                </a:lnTo>
                <a:lnTo>
                  <a:pt x="4456" y="0"/>
                </a:lnTo>
                <a:close/>
              </a:path>
            </a:pathLst>
          </a:custGeom>
          <a:gradFill>
            <a:gsLst>
              <a:gs pos="0">
                <a:schemeClr val="accent3">
                  <a:lumMod val="50000"/>
                </a:schemeClr>
              </a:gs>
              <a:gs pos="77000">
                <a:schemeClr val="accent3">
                  <a:lumMod val="25000"/>
                  <a:alpha val="0"/>
                </a:schemeClr>
              </a:gs>
            </a:gsLst>
            <a:path path="circle">
              <a:fillToRect t="100000" r="10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9AD65933-4DAE-2A46-C7F9-2A20CB244088}"/>
              </a:ext>
            </a:extLst>
          </p:cNvPr>
          <p:cNvSpPr/>
          <p:nvPr userDrawn="1"/>
        </p:nvSpPr>
        <p:spPr>
          <a:xfrm>
            <a:off x="4603793" y="0"/>
            <a:ext cx="6821472" cy="1207007"/>
          </a:xfrm>
          <a:custGeom>
            <a:avLst/>
            <a:gdLst>
              <a:gd name="connsiteX0" fmla="*/ 2449167 w 4758726"/>
              <a:gd name="connsiteY0" fmla="*/ 841961 h 842020"/>
              <a:gd name="connsiteX1" fmla="*/ 12024 w 4758726"/>
              <a:gd name="connsiteY1" fmla="*/ 11254 h 842020"/>
              <a:gd name="connsiteX2" fmla="*/ 0 w 4758726"/>
              <a:gd name="connsiteY2" fmla="*/ 0 h 842020"/>
              <a:gd name="connsiteX3" fmla="*/ 4758726 w 4758726"/>
              <a:gd name="connsiteY3" fmla="*/ 0 h 842020"/>
              <a:gd name="connsiteX4" fmla="*/ 4526601 w 4758726"/>
              <a:gd name="connsiteY4" fmla="*/ 141635 h 842020"/>
              <a:gd name="connsiteX5" fmla="*/ 2449167 w 4758726"/>
              <a:gd name="connsiteY5" fmla="*/ 841961 h 84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8726" h="842020">
                <a:moveTo>
                  <a:pt x="2449167" y="841961"/>
                </a:moveTo>
                <a:cubicBezTo>
                  <a:pt x="1373800" y="847496"/>
                  <a:pt x="537447" y="464031"/>
                  <a:pt x="12024" y="11254"/>
                </a:cubicBezTo>
                <a:lnTo>
                  <a:pt x="0" y="0"/>
                </a:lnTo>
                <a:lnTo>
                  <a:pt x="4758726" y="0"/>
                </a:lnTo>
                <a:lnTo>
                  <a:pt x="4526601" y="141635"/>
                </a:lnTo>
                <a:cubicBezTo>
                  <a:pt x="3913845" y="510819"/>
                  <a:pt x="3285564" y="837657"/>
                  <a:pt x="2449167" y="841961"/>
                </a:cubicBezTo>
                <a:close/>
              </a:path>
            </a:pathLst>
          </a:custGeom>
          <a:gradFill>
            <a:gsLst>
              <a:gs pos="41000">
                <a:schemeClr val="accent5">
                  <a:alpha val="21000"/>
                </a:schemeClr>
              </a:gs>
              <a:gs pos="98000">
                <a:schemeClr val="accent5">
                  <a:lumMod val="50000"/>
                </a:schemeClr>
              </a:gs>
            </a:gsLst>
            <a:lin ang="13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078C0FDD-401B-0E80-5823-215C99BAE6B2}"/>
              </a:ext>
            </a:extLst>
          </p:cNvPr>
          <p:cNvSpPr/>
          <p:nvPr userDrawn="1"/>
        </p:nvSpPr>
        <p:spPr>
          <a:xfrm rot="710202" flipH="1">
            <a:off x="6511239" y="-551340"/>
            <a:ext cx="5838132" cy="3132551"/>
          </a:xfrm>
          <a:custGeom>
            <a:avLst/>
            <a:gdLst>
              <a:gd name="connsiteX0" fmla="*/ 480125 w 6747252"/>
              <a:gd name="connsiteY0" fmla="*/ 0 h 3620355"/>
              <a:gd name="connsiteX1" fmla="*/ 6747252 w 6747252"/>
              <a:gd name="connsiteY1" fmla="*/ 1313462 h 3620355"/>
              <a:gd name="connsiteX2" fmla="*/ 6355443 w 6747252"/>
              <a:gd name="connsiteY2" fmla="*/ 1443581 h 3620355"/>
              <a:gd name="connsiteX3" fmla="*/ 4058536 w 6747252"/>
              <a:gd name="connsiteY3" fmla="*/ 2678500 h 3620355"/>
              <a:gd name="connsiteX4" fmla="*/ 33178 w 6747252"/>
              <a:gd name="connsiteY4" fmla="*/ 2369641 h 3620355"/>
              <a:gd name="connsiteX5" fmla="*/ 0 w 6747252"/>
              <a:gd name="connsiteY5" fmla="*/ 2290898 h 3620355"/>
              <a:gd name="connsiteX6" fmla="*/ 480125 w 6747252"/>
              <a:gd name="connsiteY6" fmla="*/ 0 h 362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252" h="3620355">
                <a:moveTo>
                  <a:pt x="480125" y="0"/>
                </a:moveTo>
                <a:lnTo>
                  <a:pt x="6747252" y="1313462"/>
                </a:lnTo>
                <a:lnTo>
                  <a:pt x="6355443" y="1443581"/>
                </a:lnTo>
                <a:cubicBezTo>
                  <a:pt x="5476828" y="1758684"/>
                  <a:pt x="4659690" y="2192443"/>
                  <a:pt x="4058536" y="2678500"/>
                </a:cubicBezTo>
                <a:cubicBezTo>
                  <a:pt x="2102261" y="4268418"/>
                  <a:pt x="625747" y="3626023"/>
                  <a:pt x="33178" y="2369641"/>
                </a:cubicBezTo>
                <a:lnTo>
                  <a:pt x="0" y="2290898"/>
                </a:lnTo>
                <a:lnTo>
                  <a:pt x="480125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4">
                  <a:lumMod val="75000"/>
                  <a:alpha val="19000"/>
                </a:schemeClr>
              </a:gs>
              <a:gs pos="0">
                <a:schemeClr val="accent6">
                  <a:alpha val="61994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3584" y="2176272"/>
            <a:ext cx="9921240" cy="1481328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60320" y="4261104"/>
            <a:ext cx="7068312" cy="758952"/>
          </a:xfrm>
        </p:spPr>
        <p:txBody>
          <a:bodyPr>
            <a:noAutofit/>
          </a:bodyPr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5" name="Picture 14" descr="A blue and white logo&#10;&#10;Description automatically generated">
            <a:extLst>
              <a:ext uri="{FF2B5EF4-FFF2-40B4-BE49-F238E27FC236}">
                <a16:creationId xmlns:a16="http://schemas.microsoft.com/office/drawing/2014/main" id="{E9A8AE80-09E0-D178-3E99-B1C049118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5" name="Picture 4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A4B2476B-BE22-BDDC-2664-ABB9815106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14" name="Picture 13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191A3071-EFB3-75D9-C9C2-6C1FCD424D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19" name="Picture 18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4C9ECF7B-0ABA-22E9-8002-6F2C55F51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082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5">
            <a:extLst>
              <a:ext uri="{FF2B5EF4-FFF2-40B4-BE49-F238E27FC236}">
                <a16:creationId xmlns:a16="http://schemas.microsoft.com/office/drawing/2014/main" id="{079F0D65-9DED-1DC3-6E6D-E4AD5252A007}"/>
              </a:ext>
            </a:extLst>
          </p:cNvPr>
          <p:cNvSpPr/>
          <p:nvPr userDrawn="1"/>
        </p:nvSpPr>
        <p:spPr>
          <a:xfrm rot="16200000" flipV="1">
            <a:off x="6507450" y="1163358"/>
            <a:ext cx="6858000" cy="4531278"/>
          </a:xfrm>
          <a:custGeom>
            <a:avLst/>
            <a:gdLst>
              <a:gd name="connsiteX0" fmla="*/ 6858000 w 6858000"/>
              <a:gd name="connsiteY0" fmla="*/ 3150313 h 3750964"/>
              <a:gd name="connsiteX1" fmla="*/ 6858000 w 6858000"/>
              <a:gd name="connsiteY1" fmla="*/ 0 h 3750964"/>
              <a:gd name="connsiteX2" fmla="*/ 0 w 6858000"/>
              <a:gd name="connsiteY2" fmla="*/ 0 h 3750964"/>
              <a:gd name="connsiteX3" fmla="*/ 0 w 6858000"/>
              <a:gd name="connsiteY3" fmla="*/ 3220894 h 3750964"/>
              <a:gd name="connsiteX4" fmla="*/ 10973 w 6858000"/>
              <a:gd name="connsiteY4" fmla="*/ 3230398 h 3750964"/>
              <a:gd name="connsiteX5" fmla="*/ 1661251 w 6858000"/>
              <a:gd name="connsiteY5" fmla="*/ 3750927 h 3750964"/>
              <a:gd name="connsiteX6" fmla="*/ 4893397 w 6858000"/>
              <a:gd name="connsiteY6" fmla="*/ 2661368 h 3750964"/>
              <a:gd name="connsiteX7" fmla="*/ 6834019 w 6858000"/>
              <a:gd name="connsiteY7" fmla="*/ 3137932 h 3750964"/>
              <a:gd name="connsiteX8" fmla="*/ 6858000 w 6858000"/>
              <a:gd name="connsiteY8" fmla="*/ 3150313 h 3750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58000" h="3750964">
                <a:moveTo>
                  <a:pt x="6858000" y="3150313"/>
                </a:moveTo>
                <a:lnTo>
                  <a:pt x="6858000" y="0"/>
                </a:lnTo>
                <a:lnTo>
                  <a:pt x="0" y="0"/>
                </a:lnTo>
                <a:lnTo>
                  <a:pt x="0" y="3220894"/>
                </a:lnTo>
                <a:lnTo>
                  <a:pt x="10973" y="3230398"/>
                </a:lnTo>
                <a:cubicBezTo>
                  <a:pt x="366756" y="3514112"/>
                  <a:pt x="933081" y="3754395"/>
                  <a:pt x="1661251" y="3750927"/>
                </a:cubicBezTo>
                <a:cubicBezTo>
                  <a:pt x="2955776" y="3744762"/>
                  <a:pt x="3514049" y="2682714"/>
                  <a:pt x="4893397" y="2661368"/>
                </a:cubicBezTo>
                <a:cubicBezTo>
                  <a:pt x="5755490" y="2648026"/>
                  <a:pt x="6380835" y="2908605"/>
                  <a:pt x="6834019" y="3137932"/>
                </a:cubicBezTo>
                <a:lnTo>
                  <a:pt x="6858000" y="3150313"/>
                </a:lnTo>
                <a:close/>
              </a:path>
            </a:pathLst>
          </a:custGeom>
          <a:solidFill>
            <a:schemeClr val="accent4">
              <a:alpha val="142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 18">
            <a:extLst>
              <a:ext uri="{FF2B5EF4-FFF2-40B4-BE49-F238E27FC236}">
                <a16:creationId xmlns:a16="http://schemas.microsoft.com/office/drawing/2014/main" id="{9C605622-8F1F-632F-D5C0-1F2E7875EBA1}"/>
              </a:ext>
            </a:extLst>
          </p:cNvPr>
          <p:cNvSpPr/>
          <p:nvPr userDrawn="1"/>
        </p:nvSpPr>
        <p:spPr>
          <a:xfrm rot="5400000">
            <a:off x="6488397" y="1182411"/>
            <a:ext cx="6858000" cy="4493171"/>
          </a:xfrm>
          <a:custGeom>
            <a:avLst/>
            <a:gdLst>
              <a:gd name="connsiteX0" fmla="*/ 0 w 6858000"/>
              <a:gd name="connsiteY0" fmla="*/ 3300688 h 4744323"/>
              <a:gd name="connsiteX1" fmla="*/ 0 w 6858000"/>
              <a:gd name="connsiteY1" fmla="*/ 0 h 4744323"/>
              <a:gd name="connsiteX2" fmla="*/ 6858000 w 6858000"/>
              <a:gd name="connsiteY2" fmla="*/ 0 h 4744323"/>
              <a:gd name="connsiteX3" fmla="*/ 6858000 w 6858000"/>
              <a:gd name="connsiteY3" fmla="*/ 3130282 h 4744323"/>
              <a:gd name="connsiteX4" fmla="*/ 6685009 w 6858000"/>
              <a:gd name="connsiteY4" fmla="*/ 3177721 h 4744323"/>
              <a:gd name="connsiteX5" fmla="*/ 2944852 w 6858000"/>
              <a:gd name="connsiteY5" fmla="*/ 4744264 h 4744323"/>
              <a:gd name="connsiteX6" fmla="*/ 88593 w 6858000"/>
              <a:gd name="connsiteY6" fmla="*/ 3449517 h 4744323"/>
              <a:gd name="connsiteX7" fmla="*/ 0 w 6858000"/>
              <a:gd name="connsiteY7" fmla="*/ 3300688 h 4744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4744323">
                <a:moveTo>
                  <a:pt x="0" y="3300688"/>
                </a:moveTo>
                <a:lnTo>
                  <a:pt x="0" y="0"/>
                </a:lnTo>
                <a:lnTo>
                  <a:pt x="6858000" y="0"/>
                </a:lnTo>
                <a:lnTo>
                  <a:pt x="6858000" y="3130282"/>
                </a:lnTo>
                <a:lnTo>
                  <a:pt x="6685009" y="3177721"/>
                </a:lnTo>
                <a:cubicBezTo>
                  <a:pt x="5333681" y="3615865"/>
                  <a:pt x="4498161" y="4736270"/>
                  <a:pt x="2944852" y="4744264"/>
                </a:cubicBezTo>
                <a:cubicBezTo>
                  <a:pt x="1511029" y="4751644"/>
                  <a:pt x="502120" y="4067469"/>
                  <a:pt x="88593" y="3449517"/>
                </a:cubicBezTo>
                <a:lnTo>
                  <a:pt x="0" y="3300688"/>
                </a:lnTo>
                <a:close/>
              </a:path>
            </a:pathLst>
          </a:custGeom>
          <a:gradFill flip="none" rotWithShape="1">
            <a:gsLst>
              <a:gs pos="4000">
                <a:schemeClr val="accent2">
                  <a:alpha val="23589"/>
                </a:schemeClr>
              </a:gs>
              <a:gs pos="79000">
                <a:schemeClr val="accent5">
                  <a:lumMod val="50000"/>
                  <a:alpha val="52188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919AB4B2-2D3A-FCB5-0314-CC465BCC0E5D}"/>
              </a:ext>
            </a:extLst>
          </p:cNvPr>
          <p:cNvSpPr/>
          <p:nvPr userDrawn="1"/>
        </p:nvSpPr>
        <p:spPr>
          <a:xfrm rot="5400000">
            <a:off x="6926379" y="1582290"/>
            <a:ext cx="6858001" cy="3693421"/>
          </a:xfrm>
          <a:custGeom>
            <a:avLst/>
            <a:gdLst>
              <a:gd name="connsiteX0" fmla="*/ 0 w 6858001"/>
              <a:gd name="connsiteY0" fmla="*/ 3437558 h 3693421"/>
              <a:gd name="connsiteX1" fmla="*/ 0 w 6858001"/>
              <a:gd name="connsiteY1" fmla="*/ 0 h 3693421"/>
              <a:gd name="connsiteX2" fmla="*/ 6858001 w 6858001"/>
              <a:gd name="connsiteY2" fmla="*/ 0 h 3693421"/>
              <a:gd name="connsiteX3" fmla="*/ 6858001 w 6858001"/>
              <a:gd name="connsiteY3" fmla="*/ 1982949 h 3693421"/>
              <a:gd name="connsiteX4" fmla="*/ 6594582 w 6858001"/>
              <a:gd name="connsiteY4" fmla="*/ 1960784 h 3693421"/>
              <a:gd name="connsiteX5" fmla="*/ 6223032 w 6858001"/>
              <a:gd name="connsiteY5" fmla="*/ 1954544 h 3693421"/>
              <a:gd name="connsiteX6" fmla="*/ 1449771 w 6858001"/>
              <a:gd name="connsiteY6" fmla="*/ 3693362 h 3693421"/>
              <a:gd name="connsiteX7" fmla="*/ 163899 w 6858001"/>
              <a:gd name="connsiteY7" fmla="*/ 3498289 h 3693421"/>
              <a:gd name="connsiteX8" fmla="*/ 0 w 6858001"/>
              <a:gd name="connsiteY8" fmla="*/ 3437558 h 369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58001" h="3693421">
                <a:moveTo>
                  <a:pt x="0" y="3437558"/>
                </a:moveTo>
                <a:lnTo>
                  <a:pt x="0" y="0"/>
                </a:lnTo>
                <a:lnTo>
                  <a:pt x="6858001" y="0"/>
                </a:lnTo>
                <a:lnTo>
                  <a:pt x="6858001" y="1982949"/>
                </a:lnTo>
                <a:lnTo>
                  <a:pt x="6594582" y="1960784"/>
                </a:lnTo>
                <a:cubicBezTo>
                  <a:pt x="6474164" y="1954657"/>
                  <a:pt x="6350346" y="1952415"/>
                  <a:pt x="6223032" y="1954544"/>
                </a:cubicBezTo>
                <a:cubicBezTo>
                  <a:pt x="4185999" y="1988612"/>
                  <a:pt x="3361537" y="3683524"/>
                  <a:pt x="1449771" y="3693362"/>
                </a:cubicBezTo>
                <a:cubicBezTo>
                  <a:pt x="971830" y="3695822"/>
                  <a:pt x="541102" y="3621442"/>
                  <a:pt x="163899" y="3498289"/>
                </a:cubicBezTo>
                <a:lnTo>
                  <a:pt x="0" y="3437558"/>
                </a:lnTo>
                <a:close/>
              </a:path>
            </a:pathLst>
          </a:custGeom>
          <a:gradFill>
            <a:gsLst>
              <a:gs pos="84000">
                <a:schemeClr val="accent4">
                  <a:alpha val="20000"/>
                </a:schemeClr>
              </a:gs>
              <a:gs pos="1000">
                <a:schemeClr val="accent6">
                  <a:alpha val="38000"/>
                </a:schemeClr>
              </a:gs>
              <a:gs pos="100000">
                <a:schemeClr val="accent6">
                  <a:alpha val="3349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6192" y="832104"/>
            <a:ext cx="8878824" cy="1069848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6192" y="2212848"/>
            <a:ext cx="6422136" cy="3282696"/>
          </a:xfrm>
        </p:spPr>
        <p:txBody>
          <a:bodyPr>
            <a:noAutofit/>
          </a:bodyPr>
          <a:lstStyle>
            <a:lvl1pPr marL="347472">
              <a:lnSpc>
                <a:spcPct val="150000"/>
              </a:lnSpc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blue and white logo&#10;&#10;Description automatically generated">
            <a:extLst>
              <a:ext uri="{FF2B5EF4-FFF2-40B4-BE49-F238E27FC236}">
                <a16:creationId xmlns:a16="http://schemas.microsoft.com/office/drawing/2014/main" id="{2460CF39-CDB7-EA98-6B8C-BE316494DA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D751D7CE-1F63-55CD-1F9D-F7664ACECF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8" name="Picture 7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B5A5DE0A-1FFD-E156-051E-DF65593B0C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9" name="Picture 8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4FA55588-13C5-E67A-DF10-C05E43176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189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hart 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blue and white logo&#10;&#10;Description automatically generated">
            <a:extLst>
              <a:ext uri="{FF2B5EF4-FFF2-40B4-BE49-F238E27FC236}">
                <a16:creationId xmlns:a16="http://schemas.microsoft.com/office/drawing/2014/main" id="{04C36147-A7EC-03CE-D5FC-694CBC0BE1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844DED08-23B2-531D-3E41-E24D6B6E4A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5" name="Picture 4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BE150A20-6BFF-7216-7E24-6E5A418A51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6" name="Picture 5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8723F60F-99D0-1017-D7E6-8CD8F897FD7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03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6">
            <a:extLst>
              <a:ext uri="{FF2B5EF4-FFF2-40B4-BE49-F238E27FC236}">
                <a16:creationId xmlns:a16="http://schemas.microsoft.com/office/drawing/2014/main" id="{77AD3460-2264-3A46-993B-9F2AACED0504}"/>
              </a:ext>
            </a:extLst>
          </p:cNvPr>
          <p:cNvSpPr/>
          <p:nvPr userDrawn="1"/>
        </p:nvSpPr>
        <p:spPr>
          <a:xfrm rot="10800000">
            <a:off x="5393054" y="5650992"/>
            <a:ext cx="6821472" cy="1207007"/>
          </a:xfrm>
          <a:custGeom>
            <a:avLst/>
            <a:gdLst>
              <a:gd name="connsiteX0" fmla="*/ 2449167 w 4758726"/>
              <a:gd name="connsiteY0" fmla="*/ 841961 h 842020"/>
              <a:gd name="connsiteX1" fmla="*/ 12024 w 4758726"/>
              <a:gd name="connsiteY1" fmla="*/ 11254 h 842020"/>
              <a:gd name="connsiteX2" fmla="*/ 0 w 4758726"/>
              <a:gd name="connsiteY2" fmla="*/ 0 h 842020"/>
              <a:gd name="connsiteX3" fmla="*/ 4758726 w 4758726"/>
              <a:gd name="connsiteY3" fmla="*/ 0 h 842020"/>
              <a:gd name="connsiteX4" fmla="*/ 4526601 w 4758726"/>
              <a:gd name="connsiteY4" fmla="*/ 141635 h 842020"/>
              <a:gd name="connsiteX5" fmla="*/ 2449167 w 4758726"/>
              <a:gd name="connsiteY5" fmla="*/ 841961 h 84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8726" h="842020">
                <a:moveTo>
                  <a:pt x="2449167" y="841961"/>
                </a:moveTo>
                <a:cubicBezTo>
                  <a:pt x="1373800" y="847496"/>
                  <a:pt x="537447" y="464031"/>
                  <a:pt x="12024" y="11254"/>
                </a:cubicBezTo>
                <a:lnTo>
                  <a:pt x="0" y="0"/>
                </a:lnTo>
                <a:lnTo>
                  <a:pt x="4758726" y="0"/>
                </a:lnTo>
                <a:lnTo>
                  <a:pt x="4526601" y="141635"/>
                </a:lnTo>
                <a:cubicBezTo>
                  <a:pt x="3913845" y="510819"/>
                  <a:pt x="3285564" y="837657"/>
                  <a:pt x="2449167" y="841961"/>
                </a:cubicBezTo>
                <a:close/>
              </a:path>
            </a:pathLst>
          </a:custGeom>
          <a:gradFill>
            <a:gsLst>
              <a:gs pos="0">
                <a:schemeClr val="tx2">
                  <a:alpha val="43000"/>
                </a:schemeClr>
              </a:gs>
              <a:gs pos="100000">
                <a:schemeClr val="accent6">
                  <a:alpha val="5300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reeform 7">
            <a:extLst>
              <a:ext uri="{FF2B5EF4-FFF2-40B4-BE49-F238E27FC236}">
                <a16:creationId xmlns:a16="http://schemas.microsoft.com/office/drawing/2014/main" id="{BBBF3E9C-CCEA-98FA-7F69-55AF07558021}"/>
              </a:ext>
            </a:extLst>
          </p:cNvPr>
          <p:cNvSpPr/>
          <p:nvPr userDrawn="1"/>
        </p:nvSpPr>
        <p:spPr>
          <a:xfrm flipH="1">
            <a:off x="-2" y="0"/>
            <a:ext cx="11262111" cy="2139696"/>
          </a:xfrm>
          <a:custGeom>
            <a:avLst/>
            <a:gdLst>
              <a:gd name="connsiteX0" fmla="*/ 3062591 w 9676770"/>
              <a:gd name="connsiteY0" fmla="*/ 1838437 h 1838496"/>
              <a:gd name="connsiteX1" fmla="*/ 10485 w 9676770"/>
              <a:gd name="connsiteY1" fmla="*/ 104484 h 1838496"/>
              <a:gd name="connsiteX2" fmla="*/ 0 w 9676770"/>
              <a:gd name="connsiteY2" fmla="*/ 0 h 1838496"/>
              <a:gd name="connsiteX3" fmla="*/ 9676770 w 9676770"/>
              <a:gd name="connsiteY3" fmla="*/ 0 h 1838496"/>
              <a:gd name="connsiteX4" fmla="*/ 9676770 w 9676770"/>
              <a:gd name="connsiteY4" fmla="*/ 396354 h 1838496"/>
              <a:gd name="connsiteX5" fmla="*/ 9495267 w 9676770"/>
              <a:gd name="connsiteY5" fmla="*/ 334664 h 1838496"/>
              <a:gd name="connsiteX6" fmla="*/ 7835850 w 9676770"/>
              <a:gd name="connsiteY6" fmla="*/ 99619 h 1838496"/>
              <a:gd name="connsiteX7" fmla="*/ 3062591 w 9676770"/>
              <a:gd name="connsiteY7" fmla="*/ 1838437 h 1838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76770" h="1838496">
                <a:moveTo>
                  <a:pt x="3062591" y="1838437"/>
                </a:moveTo>
                <a:cubicBezTo>
                  <a:pt x="1270312" y="1847662"/>
                  <a:pt x="141962" y="776331"/>
                  <a:pt x="10485" y="104484"/>
                </a:cubicBezTo>
                <a:lnTo>
                  <a:pt x="0" y="0"/>
                </a:lnTo>
                <a:lnTo>
                  <a:pt x="9676770" y="0"/>
                </a:lnTo>
                <a:lnTo>
                  <a:pt x="9676770" y="396354"/>
                </a:lnTo>
                <a:lnTo>
                  <a:pt x="9495267" y="334664"/>
                </a:lnTo>
                <a:cubicBezTo>
                  <a:pt x="9021588" y="187614"/>
                  <a:pt x="8472423" y="88973"/>
                  <a:pt x="7835850" y="99619"/>
                </a:cubicBezTo>
                <a:cubicBezTo>
                  <a:pt x="5798818" y="133686"/>
                  <a:pt x="4974355" y="1828598"/>
                  <a:pt x="3062591" y="1838437"/>
                </a:cubicBezTo>
                <a:close/>
              </a:path>
            </a:pathLst>
          </a:custGeom>
          <a:gradFill flip="none" rotWithShape="1">
            <a:gsLst>
              <a:gs pos="43000">
                <a:schemeClr val="accent3">
                  <a:lumMod val="25000"/>
                  <a:alpha val="50000"/>
                </a:schemeClr>
              </a:gs>
              <a:gs pos="73000">
                <a:schemeClr val="accent1">
                  <a:alpha val="11498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 9">
            <a:extLst>
              <a:ext uri="{FF2B5EF4-FFF2-40B4-BE49-F238E27FC236}">
                <a16:creationId xmlns:a16="http://schemas.microsoft.com/office/drawing/2014/main" id="{4F937A84-95EC-EB44-470A-C82AD8E99897}"/>
              </a:ext>
            </a:extLst>
          </p:cNvPr>
          <p:cNvSpPr/>
          <p:nvPr userDrawn="1"/>
        </p:nvSpPr>
        <p:spPr>
          <a:xfrm>
            <a:off x="-24334" y="0"/>
            <a:ext cx="12218982" cy="6860673"/>
          </a:xfrm>
          <a:custGeom>
            <a:avLst/>
            <a:gdLst>
              <a:gd name="connsiteX0" fmla="*/ 4456 w 12218982"/>
              <a:gd name="connsiteY0" fmla="*/ 0 h 6860673"/>
              <a:gd name="connsiteX1" fmla="*/ 3150735 w 12218982"/>
              <a:gd name="connsiteY1" fmla="*/ 0 h 6860673"/>
              <a:gd name="connsiteX2" fmla="*/ 3150734 w 12218982"/>
              <a:gd name="connsiteY2" fmla="*/ 1 h 6860673"/>
              <a:gd name="connsiteX3" fmla="*/ 3275209 w 12218982"/>
              <a:gd name="connsiteY3" fmla="*/ 1 h 6860673"/>
              <a:gd name="connsiteX4" fmla="*/ 3275209 w 12218982"/>
              <a:gd name="connsiteY4" fmla="*/ 0 h 6860673"/>
              <a:gd name="connsiteX5" fmla="*/ 12218982 w 12218982"/>
              <a:gd name="connsiteY5" fmla="*/ 0 h 6860673"/>
              <a:gd name="connsiteX6" fmla="*/ 12218982 w 12218982"/>
              <a:gd name="connsiteY6" fmla="*/ 1983013 h 6860673"/>
              <a:gd name="connsiteX7" fmla="*/ 12062259 w 12218982"/>
              <a:gd name="connsiteY7" fmla="*/ 2024385 h 6860673"/>
              <a:gd name="connsiteX8" fmla="*/ 10972986 w 12218982"/>
              <a:gd name="connsiteY8" fmla="*/ 2139627 h 6860673"/>
              <a:gd name="connsiteX9" fmla="*/ 5417726 w 12218982"/>
              <a:gd name="connsiteY9" fmla="*/ 115939 h 6860673"/>
              <a:gd name="connsiteX10" fmla="*/ 3916598 w 12218982"/>
              <a:gd name="connsiteY10" fmla="*/ 272807 h 6860673"/>
              <a:gd name="connsiteX11" fmla="*/ 3863345 w 12218982"/>
              <a:gd name="connsiteY11" fmla="*/ 286233 h 6860673"/>
              <a:gd name="connsiteX12" fmla="*/ 3729781 w 12218982"/>
              <a:gd name="connsiteY12" fmla="*/ 323286 h 6860673"/>
              <a:gd name="connsiteX13" fmla="*/ 1717096 w 12218982"/>
              <a:gd name="connsiteY13" fmla="*/ 1451719 h 6860673"/>
              <a:gd name="connsiteX14" fmla="*/ 708597 w 12218982"/>
              <a:gd name="connsiteY14" fmla="*/ 2695590 h 6860673"/>
              <a:gd name="connsiteX15" fmla="*/ 486880 w 12218982"/>
              <a:gd name="connsiteY15" fmla="*/ 3274865 h 6860673"/>
              <a:gd name="connsiteX16" fmla="*/ 365997 w 12218982"/>
              <a:gd name="connsiteY16" fmla="*/ 3984708 h 6860673"/>
              <a:gd name="connsiteX17" fmla="*/ 341340 w 12218982"/>
              <a:gd name="connsiteY17" fmla="*/ 4301231 h 6860673"/>
              <a:gd name="connsiteX18" fmla="*/ 341340 w 12218982"/>
              <a:gd name="connsiteY18" fmla="*/ 5007890 h 6860673"/>
              <a:gd name="connsiteX19" fmla="*/ 343276 w 12218982"/>
              <a:gd name="connsiteY19" fmla="*/ 5047516 h 6860673"/>
              <a:gd name="connsiteX20" fmla="*/ 814636 w 12218982"/>
              <a:gd name="connsiteY20" fmla="*/ 6666819 h 6860673"/>
              <a:gd name="connsiteX21" fmla="*/ 915601 w 12218982"/>
              <a:gd name="connsiteY21" fmla="*/ 6858000 h 6860673"/>
              <a:gd name="connsiteX22" fmla="*/ 341340 w 12218982"/>
              <a:gd name="connsiteY22" fmla="*/ 6858000 h 6860673"/>
              <a:gd name="connsiteX23" fmla="*/ 341340 w 12218982"/>
              <a:gd name="connsiteY23" fmla="*/ 6860673 h 6860673"/>
              <a:gd name="connsiteX24" fmla="*/ 4456 w 12218982"/>
              <a:gd name="connsiteY24" fmla="*/ 6860673 h 6860673"/>
              <a:gd name="connsiteX25" fmla="*/ 4456 w 12218982"/>
              <a:gd name="connsiteY25" fmla="*/ 2794000 h 6860673"/>
              <a:gd name="connsiteX26" fmla="*/ 0 w 12218982"/>
              <a:gd name="connsiteY26" fmla="*/ 2794000 h 6860673"/>
              <a:gd name="connsiteX27" fmla="*/ 0 w 12218982"/>
              <a:gd name="connsiteY27" fmla="*/ 2022550 h 6860673"/>
              <a:gd name="connsiteX28" fmla="*/ 4456 w 12218982"/>
              <a:gd name="connsiteY28" fmla="*/ 2022550 h 6860673"/>
              <a:gd name="connsiteX29" fmla="*/ 4456 w 12218982"/>
              <a:gd name="connsiteY29" fmla="*/ 1646989 h 6860673"/>
              <a:gd name="connsiteX30" fmla="*/ 4456 w 12218982"/>
              <a:gd name="connsiteY30" fmla="*/ 0 h 686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218982" h="6860673">
                <a:moveTo>
                  <a:pt x="4456" y="0"/>
                </a:moveTo>
                <a:lnTo>
                  <a:pt x="3150735" y="0"/>
                </a:lnTo>
                <a:lnTo>
                  <a:pt x="3150734" y="1"/>
                </a:lnTo>
                <a:lnTo>
                  <a:pt x="3275209" y="1"/>
                </a:lnTo>
                <a:lnTo>
                  <a:pt x="3275209" y="0"/>
                </a:lnTo>
                <a:lnTo>
                  <a:pt x="12218982" y="0"/>
                </a:lnTo>
                <a:lnTo>
                  <a:pt x="12218982" y="1983013"/>
                </a:lnTo>
                <a:lnTo>
                  <a:pt x="12062259" y="2024385"/>
                </a:lnTo>
                <a:cubicBezTo>
                  <a:pt x="11728036" y="2099441"/>
                  <a:pt x="11364094" y="2141640"/>
                  <a:pt x="10972986" y="2139627"/>
                </a:cubicBezTo>
                <a:cubicBezTo>
                  <a:pt x="8748018" y="2128176"/>
                  <a:pt x="7788484" y="155587"/>
                  <a:pt x="5417726" y="115939"/>
                </a:cubicBezTo>
                <a:cubicBezTo>
                  <a:pt x="4862080" y="106647"/>
                  <a:pt x="4363654" y="168899"/>
                  <a:pt x="3916598" y="272807"/>
                </a:cubicBezTo>
                <a:lnTo>
                  <a:pt x="3863345" y="286233"/>
                </a:lnTo>
                <a:lnTo>
                  <a:pt x="3729781" y="323286"/>
                </a:lnTo>
                <a:cubicBezTo>
                  <a:pt x="3036967" y="532141"/>
                  <a:pt x="2352843" y="836886"/>
                  <a:pt x="1717096" y="1451719"/>
                </a:cubicBezTo>
                <a:cubicBezTo>
                  <a:pt x="1293264" y="1861607"/>
                  <a:pt x="966036" y="2282242"/>
                  <a:pt x="708597" y="2695590"/>
                </a:cubicBezTo>
                <a:cubicBezTo>
                  <a:pt x="593502" y="2938109"/>
                  <a:pt x="544310" y="3015870"/>
                  <a:pt x="486880" y="3274865"/>
                </a:cubicBezTo>
                <a:cubicBezTo>
                  <a:pt x="434927" y="3498394"/>
                  <a:pt x="385149" y="3635910"/>
                  <a:pt x="365997" y="3984708"/>
                </a:cubicBezTo>
                <a:lnTo>
                  <a:pt x="341340" y="4301231"/>
                </a:lnTo>
                <a:lnTo>
                  <a:pt x="341340" y="5007890"/>
                </a:lnTo>
                <a:cubicBezTo>
                  <a:pt x="341985" y="5021099"/>
                  <a:pt x="342631" y="5034307"/>
                  <a:pt x="343276" y="5047516"/>
                </a:cubicBezTo>
                <a:cubicBezTo>
                  <a:pt x="393784" y="5666740"/>
                  <a:pt x="577442" y="6188267"/>
                  <a:pt x="814636" y="6666819"/>
                </a:cubicBezTo>
                <a:lnTo>
                  <a:pt x="915601" y="6858000"/>
                </a:lnTo>
                <a:lnTo>
                  <a:pt x="341340" y="6858000"/>
                </a:lnTo>
                <a:lnTo>
                  <a:pt x="341340" y="6860673"/>
                </a:lnTo>
                <a:lnTo>
                  <a:pt x="4456" y="6860673"/>
                </a:lnTo>
                <a:lnTo>
                  <a:pt x="4456" y="2794000"/>
                </a:lnTo>
                <a:lnTo>
                  <a:pt x="0" y="2794000"/>
                </a:lnTo>
                <a:lnTo>
                  <a:pt x="0" y="2022550"/>
                </a:lnTo>
                <a:lnTo>
                  <a:pt x="4456" y="2022550"/>
                </a:lnTo>
                <a:lnTo>
                  <a:pt x="4456" y="1646989"/>
                </a:lnTo>
                <a:lnTo>
                  <a:pt x="4456" y="0"/>
                </a:lnTo>
                <a:close/>
              </a:path>
            </a:pathLst>
          </a:custGeom>
          <a:gradFill>
            <a:gsLst>
              <a:gs pos="0">
                <a:schemeClr val="accent3">
                  <a:lumMod val="25000"/>
                  <a:alpha val="60164"/>
                </a:schemeClr>
              </a:gs>
              <a:gs pos="77000">
                <a:schemeClr val="accent3">
                  <a:lumMod val="25000"/>
                  <a:alpha val="29492"/>
                </a:schemeClr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A9BF091C-5F88-B50F-03BB-284950253993}"/>
              </a:ext>
            </a:extLst>
          </p:cNvPr>
          <p:cNvSpPr/>
          <p:nvPr userDrawn="1"/>
        </p:nvSpPr>
        <p:spPr>
          <a:xfrm flipV="1">
            <a:off x="204060" y="5377862"/>
            <a:ext cx="7471211" cy="1480138"/>
          </a:xfrm>
          <a:custGeom>
            <a:avLst/>
            <a:gdLst>
              <a:gd name="connsiteX0" fmla="*/ 1910385 w 3946673"/>
              <a:gd name="connsiteY0" fmla="*/ 781847 h 781884"/>
              <a:gd name="connsiteX1" fmla="*/ 3855031 w 3946673"/>
              <a:gd name="connsiteY1" fmla="*/ 44786 h 781884"/>
              <a:gd name="connsiteX2" fmla="*/ 3946673 w 3946673"/>
              <a:gd name="connsiteY2" fmla="*/ 0 h 781884"/>
              <a:gd name="connsiteX3" fmla="*/ 0 w 3946673"/>
              <a:gd name="connsiteY3" fmla="*/ 0 h 781884"/>
              <a:gd name="connsiteX4" fmla="*/ 54644 w 3946673"/>
              <a:gd name="connsiteY4" fmla="*/ 67939 h 781884"/>
              <a:gd name="connsiteX5" fmla="*/ 1910385 w 3946673"/>
              <a:gd name="connsiteY5" fmla="*/ 781847 h 78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46673" h="781884">
                <a:moveTo>
                  <a:pt x="1910385" y="781847"/>
                </a:moveTo>
                <a:cubicBezTo>
                  <a:pt x="2719463" y="777993"/>
                  <a:pt x="3240943" y="361686"/>
                  <a:pt x="3855031" y="44786"/>
                </a:cubicBezTo>
                <a:lnTo>
                  <a:pt x="3946673" y="0"/>
                </a:lnTo>
                <a:lnTo>
                  <a:pt x="0" y="0"/>
                </a:lnTo>
                <a:lnTo>
                  <a:pt x="54644" y="67939"/>
                </a:lnTo>
                <a:cubicBezTo>
                  <a:pt x="372182" y="426203"/>
                  <a:pt x="1020399" y="786086"/>
                  <a:pt x="1910385" y="781847"/>
                </a:cubicBezTo>
                <a:close/>
              </a:path>
            </a:pathLst>
          </a:custGeom>
          <a:gradFill>
            <a:gsLst>
              <a:gs pos="66000">
                <a:schemeClr val="tx2">
                  <a:alpha val="8123"/>
                </a:schemeClr>
              </a:gs>
              <a:gs pos="33000">
                <a:schemeClr val="accent6">
                  <a:alpha val="13919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 16">
            <a:extLst>
              <a:ext uri="{FF2B5EF4-FFF2-40B4-BE49-F238E27FC236}">
                <a16:creationId xmlns:a16="http://schemas.microsoft.com/office/drawing/2014/main" id="{3FF8B459-35F5-072D-56FA-415EEABE6DC2}"/>
              </a:ext>
            </a:extLst>
          </p:cNvPr>
          <p:cNvSpPr/>
          <p:nvPr userDrawn="1"/>
        </p:nvSpPr>
        <p:spPr>
          <a:xfrm rot="10800000">
            <a:off x="-30287" y="4822578"/>
            <a:ext cx="12230888" cy="2040391"/>
          </a:xfrm>
          <a:custGeom>
            <a:avLst/>
            <a:gdLst>
              <a:gd name="connsiteX0" fmla="*/ 1751979 w 12230888"/>
              <a:gd name="connsiteY0" fmla="*/ 2040336 h 2040391"/>
              <a:gd name="connsiteX1" fmla="*/ 44227 w 12230888"/>
              <a:gd name="connsiteY1" fmla="*/ 1650944 h 2040391"/>
              <a:gd name="connsiteX2" fmla="*/ 0 w 12230888"/>
              <a:gd name="connsiteY2" fmla="*/ 1626084 h 2040391"/>
              <a:gd name="connsiteX3" fmla="*/ 0 w 12230888"/>
              <a:gd name="connsiteY3" fmla="*/ 0 h 2040391"/>
              <a:gd name="connsiteX4" fmla="*/ 12230888 w 12230888"/>
              <a:gd name="connsiteY4" fmla="*/ 0 h 2040391"/>
              <a:gd name="connsiteX5" fmla="*/ 12230888 w 12230888"/>
              <a:gd name="connsiteY5" fmla="*/ 1945571 h 2040391"/>
              <a:gd name="connsiteX6" fmla="*/ 12158569 w 12230888"/>
              <a:gd name="connsiteY6" fmla="*/ 1963333 h 2040391"/>
              <a:gd name="connsiteX7" fmla="*/ 11600914 w 12230888"/>
              <a:gd name="connsiteY7" fmla="*/ 2019284 h 2040391"/>
              <a:gd name="connsiteX8" fmla="*/ 9893162 w 12230888"/>
              <a:gd name="connsiteY8" fmla="*/ 1629893 h 2040391"/>
              <a:gd name="connsiteX9" fmla="*/ 9779649 w 12230888"/>
              <a:gd name="connsiteY9" fmla="*/ 1560235 h 2040391"/>
              <a:gd name="connsiteX10" fmla="*/ 9734876 w 12230888"/>
              <a:gd name="connsiteY10" fmla="*/ 1542756 h 2040391"/>
              <a:gd name="connsiteX11" fmla="*/ 6253752 w 12230888"/>
              <a:gd name="connsiteY11" fmla="*/ 400415 h 2040391"/>
              <a:gd name="connsiteX12" fmla="*/ 1751979 w 12230888"/>
              <a:gd name="connsiteY12" fmla="*/ 2040336 h 204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230888" h="2040391">
                <a:moveTo>
                  <a:pt x="1751979" y="2040336"/>
                </a:moveTo>
                <a:cubicBezTo>
                  <a:pt x="1075843" y="2043817"/>
                  <a:pt x="499894" y="1884241"/>
                  <a:pt x="44227" y="1650944"/>
                </a:cubicBezTo>
                <a:lnTo>
                  <a:pt x="0" y="1626084"/>
                </a:lnTo>
                <a:lnTo>
                  <a:pt x="0" y="0"/>
                </a:lnTo>
                <a:lnTo>
                  <a:pt x="12230888" y="0"/>
                </a:lnTo>
                <a:lnTo>
                  <a:pt x="12230888" y="1945571"/>
                </a:lnTo>
                <a:lnTo>
                  <a:pt x="12158569" y="1963333"/>
                </a:lnTo>
                <a:cubicBezTo>
                  <a:pt x="11983060" y="1998243"/>
                  <a:pt x="11798121" y="2018269"/>
                  <a:pt x="11600914" y="2019284"/>
                </a:cubicBezTo>
                <a:cubicBezTo>
                  <a:pt x="10924778" y="2022765"/>
                  <a:pt x="10348830" y="1863190"/>
                  <a:pt x="9893162" y="1629893"/>
                </a:cubicBezTo>
                <a:lnTo>
                  <a:pt x="9779649" y="1560235"/>
                </a:lnTo>
                <a:lnTo>
                  <a:pt x="9734876" y="1542756"/>
                </a:lnTo>
                <a:cubicBezTo>
                  <a:pt x="9114026" y="1267812"/>
                  <a:pt x="8054852" y="370292"/>
                  <a:pt x="6253752" y="400415"/>
                </a:cubicBezTo>
                <a:cubicBezTo>
                  <a:pt x="4332581" y="432545"/>
                  <a:pt x="3555009" y="2031056"/>
                  <a:pt x="1751979" y="204033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6">
                  <a:alpha val="23907"/>
                </a:schemeClr>
              </a:gs>
              <a:gs pos="85000">
                <a:schemeClr val="accent5">
                  <a:lumMod val="50000"/>
                  <a:alpha val="42331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 17">
            <a:extLst>
              <a:ext uri="{FF2B5EF4-FFF2-40B4-BE49-F238E27FC236}">
                <a16:creationId xmlns:a16="http://schemas.microsoft.com/office/drawing/2014/main" id="{73867BC1-390E-647F-B33F-8622748E6530}"/>
              </a:ext>
            </a:extLst>
          </p:cNvPr>
          <p:cNvSpPr/>
          <p:nvPr userDrawn="1"/>
        </p:nvSpPr>
        <p:spPr>
          <a:xfrm>
            <a:off x="0" y="0"/>
            <a:ext cx="12192000" cy="2035422"/>
          </a:xfrm>
          <a:custGeom>
            <a:avLst/>
            <a:gdLst>
              <a:gd name="connsiteX0" fmla="*/ 0 w 12192000"/>
              <a:gd name="connsiteY0" fmla="*/ 0 h 2035422"/>
              <a:gd name="connsiteX1" fmla="*/ 12192000 w 12192000"/>
              <a:gd name="connsiteY1" fmla="*/ 0 h 2035422"/>
              <a:gd name="connsiteX2" fmla="*/ 12192000 w 12192000"/>
              <a:gd name="connsiteY2" fmla="*/ 1759689 h 2035422"/>
              <a:gd name="connsiteX3" fmla="*/ 12103306 w 12192000"/>
              <a:gd name="connsiteY3" fmla="*/ 1729773 h 2035422"/>
              <a:gd name="connsiteX4" fmla="*/ 11659615 w 12192000"/>
              <a:gd name="connsiteY4" fmla="*/ 1535038 h 2035422"/>
              <a:gd name="connsiteX5" fmla="*/ 11521247 w 12192000"/>
              <a:gd name="connsiteY5" fmla="*/ 1450127 h 2035422"/>
              <a:gd name="connsiteX6" fmla="*/ 11466670 w 12192000"/>
              <a:gd name="connsiteY6" fmla="*/ 1428821 h 2035422"/>
              <a:gd name="connsiteX7" fmla="*/ 7223297 w 12192000"/>
              <a:gd name="connsiteY7" fmla="*/ 36346 h 2035422"/>
              <a:gd name="connsiteX8" fmla="*/ 1735787 w 12192000"/>
              <a:gd name="connsiteY8" fmla="*/ 2035354 h 2035422"/>
              <a:gd name="connsiteX9" fmla="*/ 97785 w 12192000"/>
              <a:gd name="connsiteY9" fmla="*/ 1755433 h 2035422"/>
              <a:gd name="connsiteX10" fmla="*/ 0 w 12192000"/>
              <a:gd name="connsiteY10" fmla="*/ 1715854 h 2035422"/>
              <a:gd name="connsiteX11" fmla="*/ 0 w 12192000"/>
              <a:gd name="connsiteY11" fmla="*/ 0 h 203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2035422">
                <a:moveTo>
                  <a:pt x="0" y="0"/>
                </a:moveTo>
                <a:lnTo>
                  <a:pt x="12192000" y="0"/>
                </a:lnTo>
                <a:lnTo>
                  <a:pt x="12192000" y="1759689"/>
                </a:lnTo>
                <a:lnTo>
                  <a:pt x="12103306" y="1729773"/>
                </a:lnTo>
                <a:cubicBezTo>
                  <a:pt x="11946501" y="1671612"/>
                  <a:pt x="11798476" y="1606133"/>
                  <a:pt x="11659615" y="1535038"/>
                </a:cubicBezTo>
                <a:lnTo>
                  <a:pt x="11521247" y="1450127"/>
                </a:lnTo>
                <a:lnTo>
                  <a:pt x="11466670" y="1428821"/>
                </a:lnTo>
                <a:cubicBezTo>
                  <a:pt x="10709874" y="1093673"/>
                  <a:pt x="9418777" y="-373"/>
                  <a:pt x="7223297" y="36346"/>
                </a:cubicBezTo>
                <a:cubicBezTo>
                  <a:pt x="4881454" y="75511"/>
                  <a:pt x="3933620" y="2024042"/>
                  <a:pt x="1735787" y="2035354"/>
                </a:cubicBezTo>
                <a:cubicBezTo>
                  <a:pt x="1117647" y="2038536"/>
                  <a:pt x="568201" y="1929916"/>
                  <a:pt x="97785" y="1755433"/>
                </a:cubicBezTo>
                <a:lnTo>
                  <a:pt x="0" y="171585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5000"/>
                </a:schemeClr>
              </a:gs>
              <a:gs pos="99000">
                <a:schemeClr val="accent3">
                  <a:lumMod val="25000"/>
                </a:schemeClr>
              </a:gs>
              <a:gs pos="31000">
                <a:schemeClr val="accent6">
                  <a:alpha val="69328"/>
                </a:schemeClr>
              </a:gs>
              <a:gs pos="73000">
                <a:schemeClr val="accent5">
                  <a:lumMod val="50000"/>
                  <a:alpha val="42331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 18">
            <a:extLst>
              <a:ext uri="{FF2B5EF4-FFF2-40B4-BE49-F238E27FC236}">
                <a16:creationId xmlns:a16="http://schemas.microsoft.com/office/drawing/2014/main" id="{FA6C5756-59FF-66C3-2611-3D7AB2049ABE}"/>
              </a:ext>
            </a:extLst>
          </p:cNvPr>
          <p:cNvSpPr/>
          <p:nvPr userDrawn="1"/>
        </p:nvSpPr>
        <p:spPr>
          <a:xfrm flipH="1">
            <a:off x="-2" y="0"/>
            <a:ext cx="11262111" cy="2139696"/>
          </a:xfrm>
          <a:custGeom>
            <a:avLst/>
            <a:gdLst>
              <a:gd name="connsiteX0" fmla="*/ 3062591 w 9676770"/>
              <a:gd name="connsiteY0" fmla="*/ 1838437 h 1838496"/>
              <a:gd name="connsiteX1" fmla="*/ 10485 w 9676770"/>
              <a:gd name="connsiteY1" fmla="*/ 104484 h 1838496"/>
              <a:gd name="connsiteX2" fmla="*/ 0 w 9676770"/>
              <a:gd name="connsiteY2" fmla="*/ 0 h 1838496"/>
              <a:gd name="connsiteX3" fmla="*/ 9676770 w 9676770"/>
              <a:gd name="connsiteY3" fmla="*/ 0 h 1838496"/>
              <a:gd name="connsiteX4" fmla="*/ 9676770 w 9676770"/>
              <a:gd name="connsiteY4" fmla="*/ 396354 h 1838496"/>
              <a:gd name="connsiteX5" fmla="*/ 9495267 w 9676770"/>
              <a:gd name="connsiteY5" fmla="*/ 334664 h 1838496"/>
              <a:gd name="connsiteX6" fmla="*/ 7835850 w 9676770"/>
              <a:gd name="connsiteY6" fmla="*/ 99619 h 1838496"/>
              <a:gd name="connsiteX7" fmla="*/ 3062591 w 9676770"/>
              <a:gd name="connsiteY7" fmla="*/ 1838437 h 1838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76770" h="1838496">
                <a:moveTo>
                  <a:pt x="3062591" y="1838437"/>
                </a:moveTo>
                <a:cubicBezTo>
                  <a:pt x="1270312" y="1847662"/>
                  <a:pt x="141962" y="776331"/>
                  <a:pt x="10485" y="104484"/>
                </a:cubicBezTo>
                <a:lnTo>
                  <a:pt x="0" y="0"/>
                </a:lnTo>
                <a:lnTo>
                  <a:pt x="9676770" y="0"/>
                </a:lnTo>
                <a:lnTo>
                  <a:pt x="9676770" y="396354"/>
                </a:lnTo>
                <a:lnTo>
                  <a:pt x="9495267" y="334664"/>
                </a:lnTo>
                <a:cubicBezTo>
                  <a:pt x="9021588" y="187614"/>
                  <a:pt x="8472423" y="88973"/>
                  <a:pt x="7835850" y="99619"/>
                </a:cubicBezTo>
                <a:cubicBezTo>
                  <a:pt x="5798818" y="133686"/>
                  <a:pt x="4974355" y="1828598"/>
                  <a:pt x="3062591" y="1838437"/>
                </a:cubicBezTo>
                <a:close/>
              </a:path>
            </a:pathLst>
          </a:custGeom>
          <a:gradFill flip="none" rotWithShape="1">
            <a:gsLst>
              <a:gs pos="43000">
                <a:schemeClr val="accent3">
                  <a:lumMod val="25000"/>
                  <a:alpha val="50000"/>
                </a:schemeClr>
              </a:gs>
              <a:gs pos="73000">
                <a:schemeClr val="accent1">
                  <a:alpha val="11498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8" name="Freeform 19">
            <a:extLst>
              <a:ext uri="{FF2B5EF4-FFF2-40B4-BE49-F238E27FC236}">
                <a16:creationId xmlns:a16="http://schemas.microsoft.com/office/drawing/2014/main" id="{EF6D3160-DA6D-8CDA-3A13-8A43EC05449D}"/>
              </a:ext>
            </a:extLst>
          </p:cNvPr>
          <p:cNvSpPr/>
          <p:nvPr userDrawn="1"/>
        </p:nvSpPr>
        <p:spPr>
          <a:xfrm>
            <a:off x="0" y="7399"/>
            <a:ext cx="4758726" cy="842020"/>
          </a:xfrm>
          <a:custGeom>
            <a:avLst/>
            <a:gdLst>
              <a:gd name="connsiteX0" fmla="*/ 2449167 w 4758726"/>
              <a:gd name="connsiteY0" fmla="*/ 841961 h 842020"/>
              <a:gd name="connsiteX1" fmla="*/ 12024 w 4758726"/>
              <a:gd name="connsiteY1" fmla="*/ 11254 h 842020"/>
              <a:gd name="connsiteX2" fmla="*/ 0 w 4758726"/>
              <a:gd name="connsiteY2" fmla="*/ 0 h 842020"/>
              <a:gd name="connsiteX3" fmla="*/ 4758726 w 4758726"/>
              <a:gd name="connsiteY3" fmla="*/ 0 h 842020"/>
              <a:gd name="connsiteX4" fmla="*/ 4526601 w 4758726"/>
              <a:gd name="connsiteY4" fmla="*/ 141635 h 842020"/>
              <a:gd name="connsiteX5" fmla="*/ 2449167 w 4758726"/>
              <a:gd name="connsiteY5" fmla="*/ 841961 h 84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8726" h="842020">
                <a:moveTo>
                  <a:pt x="2449167" y="841961"/>
                </a:moveTo>
                <a:cubicBezTo>
                  <a:pt x="1373800" y="847496"/>
                  <a:pt x="537447" y="464031"/>
                  <a:pt x="12024" y="11254"/>
                </a:cubicBezTo>
                <a:lnTo>
                  <a:pt x="0" y="0"/>
                </a:lnTo>
                <a:lnTo>
                  <a:pt x="4758726" y="0"/>
                </a:lnTo>
                <a:lnTo>
                  <a:pt x="4526601" y="141635"/>
                </a:lnTo>
                <a:cubicBezTo>
                  <a:pt x="3913845" y="510819"/>
                  <a:pt x="3285564" y="837657"/>
                  <a:pt x="2449167" y="841961"/>
                </a:cubicBezTo>
                <a:close/>
              </a:path>
            </a:pathLst>
          </a:custGeom>
          <a:gradFill>
            <a:gsLst>
              <a:gs pos="0">
                <a:schemeClr val="tx2">
                  <a:alpha val="43000"/>
                </a:schemeClr>
              </a:gs>
              <a:gs pos="100000">
                <a:schemeClr val="accent6">
                  <a:alpha val="5300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2752344"/>
            <a:ext cx="7763256" cy="1600200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32320" y="4233672"/>
            <a:ext cx="2843784" cy="448056"/>
          </a:xfrm>
        </p:spPr>
        <p:txBody>
          <a:bodyPr>
            <a:noAutofit/>
          </a:bodyPr>
          <a:lstStyle>
            <a:lvl1pPr marL="0" indent="0" algn="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B81ECB45-6476-58AB-2345-D33C04ACB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5B9ED20-83CC-7ADB-E2D9-4AB9A90282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5" name="Picture 4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E555D407-691B-7411-B4BE-F957BC6DD0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6" name="Picture 5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4A77A994-901B-7F00-954B-1BA29AEE41F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23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x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3CF1AC86-4E83-EED8-9FB5-635710111D45}"/>
              </a:ext>
            </a:extLst>
          </p:cNvPr>
          <p:cNvSpPr/>
          <p:nvPr userDrawn="1"/>
        </p:nvSpPr>
        <p:spPr>
          <a:xfrm flipH="1">
            <a:off x="2911804" y="4055522"/>
            <a:ext cx="1231495" cy="1231495"/>
          </a:xfrm>
          <a:prstGeom prst="ellipse">
            <a:avLst/>
          </a:prstGeom>
          <a:gradFill flip="none" rotWithShape="1">
            <a:gsLst>
              <a:gs pos="18000">
                <a:schemeClr val="accent3"/>
              </a:gs>
              <a:gs pos="52000">
                <a:schemeClr val="accent5">
                  <a:alpha val="69515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03E890B-5D84-F4A6-E963-051A1C52577D}"/>
              </a:ext>
            </a:extLst>
          </p:cNvPr>
          <p:cNvSpPr/>
          <p:nvPr userDrawn="1"/>
        </p:nvSpPr>
        <p:spPr>
          <a:xfrm flipH="1">
            <a:off x="5436078" y="1853643"/>
            <a:ext cx="1231495" cy="1231495"/>
          </a:xfrm>
          <a:prstGeom prst="ellipse">
            <a:avLst/>
          </a:prstGeom>
          <a:gradFill flip="none" rotWithShape="1">
            <a:gsLst>
              <a:gs pos="18000">
                <a:schemeClr val="accent3"/>
              </a:gs>
              <a:gs pos="52000">
                <a:schemeClr val="accent5">
                  <a:alpha val="69515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A321B0B-6EF1-E460-8E13-3BBE774FA148}"/>
              </a:ext>
            </a:extLst>
          </p:cNvPr>
          <p:cNvSpPr/>
          <p:nvPr userDrawn="1"/>
        </p:nvSpPr>
        <p:spPr>
          <a:xfrm flipH="1">
            <a:off x="7960352" y="4055275"/>
            <a:ext cx="1231495" cy="1231495"/>
          </a:xfrm>
          <a:prstGeom prst="ellipse">
            <a:avLst/>
          </a:prstGeom>
          <a:gradFill flip="none" rotWithShape="1">
            <a:gsLst>
              <a:gs pos="18000">
                <a:schemeClr val="accent3"/>
              </a:gs>
              <a:gs pos="52000">
                <a:schemeClr val="accent5">
                  <a:alpha val="69515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FE52614-CC2D-3550-FDBA-9D7D76ED0F72}"/>
              </a:ext>
            </a:extLst>
          </p:cNvPr>
          <p:cNvSpPr/>
          <p:nvPr userDrawn="1"/>
        </p:nvSpPr>
        <p:spPr>
          <a:xfrm flipH="1">
            <a:off x="5436078" y="4056366"/>
            <a:ext cx="1231495" cy="1231495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77000">
                <a:schemeClr val="accent6">
                  <a:alpha val="69284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BCCE6E9-C40E-A684-457C-F08C974BD59F}"/>
              </a:ext>
            </a:extLst>
          </p:cNvPr>
          <p:cNvSpPr/>
          <p:nvPr userDrawn="1"/>
        </p:nvSpPr>
        <p:spPr>
          <a:xfrm flipH="1">
            <a:off x="7960352" y="1855810"/>
            <a:ext cx="1231495" cy="1231495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77000">
                <a:schemeClr val="accent6">
                  <a:alpha val="69284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9B5F0D0-ABA3-5B0F-77C9-C5B64A613F84}"/>
              </a:ext>
            </a:extLst>
          </p:cNvPr>
          <p:cNvSpPr/>
          <p:nvPr userDrawn="1"/>
        </p:nvSpPr>
        <p:spPr>
          <a:xfrm flipH="1">
            <a:off x="2899740" y="1846020"/>
            <a:ext cx="1231495" cy="1231495"/>
          </a:xfrm>
          <a:prstGeom prst="ellipse">
            <a:avLst/>
          </a:prstGeom>
          <a:gradFill>
            <a:gsLst>
              <a:gs pos="0">
                <a:schemeClr val="accent1"/>
              </a:gs>
              <a:gs pos="77000">
                <a:schemeClr val="accent6">
                  <a:alpha val="69284"/>
                </a:schemeClr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515CD9-7B09-FB25-0368-96365B9DD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588" y="338328"/>
            <a:ext cx="8878824" cy="1069848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3517CD-F786-4206-2455-E4C3BD9874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84551" y="3209544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978C389-1D90-6CEB-1D34-D69BF7898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4551" y="3447288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12B5D758-2B43-B448-79C9-1F09317F86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08825" y="3209544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65404FC1-F068-1D2B-A3D6-59F44099DD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8825" y="3447288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F0B1C4A-F0AC-3974-6F79-9CCF799976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33099" y="3209544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C12C91B-3BBC-019A-22DF-DF71A287D5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33099" y="3447288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D38BBA9-DB40-81D9-4D13-4351576F9FD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989707" y="1935987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4E44748-5631-A2C7-ADA1-FB2707923EE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26045" y="1935987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8A56F66F-909F-8F64-B021-9820EB3F6B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50319" y="1935987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BA9EB14D-8336-06B5-51E3-FBCAF00F1F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01771" y="4145489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A1E65D12-1094-78B5-B37A-A03576991D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526045" y="4146333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20">
            <a:extLst>
              <a:ext uri="{FF2B5EF4-FFF2-40B4-BE49-F238E27FC236}">
                <a16:creationId xmlns:a16="http://schemas.microsoft.com/office/drawing/2014/main" id="{6ABE5CEC-34A4-CD5D-FA0D-D675A87984F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050319" y="4145242"/>
            <a:ext cx="1051560" cy="105156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B0DA5B5-9C84-7B23-EE8E-CEA555CD80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84551" y="5440680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99C62621-0080-5CDD-E5DD-2FCF2D548CE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4551" y="5678424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B69DDE47-632B-987E-545E-BAB200D374E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08825" y="5440680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165DCBF-4EFD-7181-68BA-1625AC1C0D5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908825" y="5678424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3C7ECA2F-9EC3-26BD-B424-ECE80473DF3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33099" y="5440680"/>
            <a:ext cx="2286000" cy="18288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spc="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C9535F99-6134-8D03-FFEE-D1B3E007F2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33099" y="5678424"/>
            <a:ext cx="2286000" cy="26517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spc="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5248A5E6-C785-EA7C-3137-95727131E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300E9415-E1A2-6FB4-29E6-08550CDBEF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4844" r="35786" b="39113"/>
          <a:stretch/>
        </p:blipFill>
        <p:spPr>
          <a:xfrm>
            <a:off x="169989" y="6186791"/>
            <a:ext cx="839598" cy="67120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681EEE0-E3AF-B39D-8C8E-F52D31F02CF1}"/>
              </a:ext>
            </a:extLst>
          </p:cNvPr>
          <p:cNvSpPr txBox="1"/>
          <p:nvPr userDrawn="1"/>
        </p:nvSpPr>
        <p:spPr>
          <a:xfrm>
            <a:off x="5662864" y="6523340"/>
            <a:ext cx="64121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000" b="0" i="0" u="none" strike="noStrike" kern="1200" cap="none" spc="0" normalizeH="0" baseline="0" noProof="0">
                <a:ln>
                  <a:noFill/>
                </a:ln>
                <a:solidFill>
                  <a:srgbClr val="ADD0F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tact@cityinnohub.ro / www.cityinnohub.ro</a:t>
            </a:r>
          </a:p>
        </p:txBody>
      </p:sp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F10F8FA6-CFBF-1E47-7232-84839AE1CA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3" name="Picture 2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4FE38DE4-C10C-87C8-4A1D-391970F5B0B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5" name="Picture 4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531E5CDD-6DCB-860D-E0A4-378B7C824F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60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F4F2FF2-B2D0-EAB9-0059-1E59CFF27936}"/>
              </a:ext>
            </a:extLst>
          </p:cNvPr>
          <p:cNvSpPr/>
          <p:nvPr userDrawn="1"/>
        </p:nvSpPr>
        <p:spPr>
          <a:xfrm>
            <a:off x="0" y="3079989"/>
            <a:ext cx="4744043" cy="3778013"/>
          </a:xfrm>
          <a:custGeom>
            <a:avLst/>
            <a:gdLst>
              <a:gd name="connsiteX0" fmla="*/ 552680 w 4744043"/>
              <a:gd name="connsiteY0" fmla="*/ 2 h 3778013"/>
              <a:gd name="connsiteX1" fmla="*/ 3368067 w 4744043"/>
              <a:gd name="connsiteY1" fmla="*/ 2076456 h 3778013"/>
              <a:gd name="connsiteX2" fmla="*/ 4603294 w 4744043"/>
              <a:gd name="connsiteY2" fmla="*/ 3641510 h 3778013"/>
              <a:gd name="connsiteX3" fmla="*/ 4744043 w 4744043"/>
              <a:gd name="connsiteY3" fmla="*/ 3778013 h 3778013"/>
              <a:gd name="connsiteX4" fmla="*/ 0 w 4744043"/>
              <a:gd name="connsiteY4" fmla="*/ 3778013 h 3778013"/>
              <a:gd name="connsiteX5" fmla="*/ 0 w 4744043"/>
              <a:gd name="connsiteY5" fmla="*/ 73323 h 3778013"/>
              <a:gd name="connsiteX6" fmla="*/ 163773 w 4744043"/>
              <a:gd name="connsiteY6" fmla="*/ 34335 h 3778013"/>
              <a:gd name="connsiteX7" fmla="*/ 552680 w 4744043"/>
              <a:gd name="connsiteY7" fmla="*/ 2 h 3778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44043" h="3778013">
                <a:moveTo>
                  <a:pt x="552680" y="2"/>
                </a:moveTo>
                <a:cubicBezTo>
                  <a:pt x="1474475" y="1086"/>
                  <a:pt x="2486209" y="585872"/>
                  <a:pt x="3368067" y="2076456"/>
                </a:cubicBezTo>
                <a:cubicBezTo>
                  <a:pt x="3678455" y="2598086"/>
                  <a:pt x="4104379" y="3133243"/>
                  <a:pt x="4603294" y="3641510"/>
                </a:cubicBezTo>
                <a:lnTo>
                  <a:pt x="4744043" y="3778013"/>
                </a:lnTo>
                <a:lnTo>
                  <a:pt x="0" y="3778013"/>
                </a:lnTo>
                <a:lnTo>
                  <a:pt x="0" y="73323"/>
                </a:lnTo>
                <a:lnTo>
                  <a:pt x="163773" y="34335"/>
                </a:lnTo>
                <a:cubicBezTo>
                  <a:pt x="291146" y="11604"/>
                  <a:pt x="420996" y="-154"/>
                  <a:pt x="552680" y="2"/>
                </a:cubicBezTo>
                <a:close/>
              </a:path>
            </a:pathLst>
          </a:custGeom>
          <a:gradFill flip="none" rotWithShape="1">
            <a:gsLst>
              <a:gs pos="41000">
                <a:schemeClr val="accent3">
                  <a:lumMod val="25000"/>
                  <a:alpha val="67969"/>
                </a:schemeClr>
              </a:gs>
              <a:gs pos="100000">
                <a:schemeClr val="accent2">
                  <a:alpha val="29022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B193F7C-DAB3-79A0-9B6F-012F23BAF8BD}"/>
              </a:ext>
            </a:extLst>
          </p:cNvPr>
          <p:cNvSpPr/>
          <p:nvPr userDrawn="1"/>
        </p:nvSpPr>
        <p:spPr>
          <a:xfrm>
            <a:off x="1" y="0"/>
            <a:ext cx="6552595" cy="3112082"/>
          </a:xfrm>
          <a:custGeom>
            <a:avLst/>
            <a:gdLst>
              <a:gd name="connsiteX0" fmla="*/ 6552595 w 6552595"/>
              <a:gd name="connsiteY0" fmla="*/ 0 h 3112082"/>
              <a:gd name="connsiteX1" fmla="*/ 6479403 w 6552595"/>
              <a:gd name="connsiteY1" fmla="*/ 116338 h 3112082"/>
              <a:gd name="connsiteX2" fmla="*/ 4627940 w 6552595"/>
              <a:gd name="connsiteY2" fmla="*/ 645238 h 3112082"/>
              <a:gd name="connsiteX3" fmla="*/ 631580 w 6552595"/>
              <a:gd name="connsiteY3" fmla="*/ 1915852 h 3112082"/>
              <a:gd name="connsiteX4" fmla="*/ 46252 w 6552595"/>
              <a:gd name="connsiteY4" fmla="*/ 2980209 h 3112082"/>
              <a:gd name="connsiteX5" fmla="*/ 0 w 6552595"/>
              <a:gd name="connsiteY5" fmla="*/ 3112082 h 3112082"/>
              <a:gd name="connsiteX6" fmla="*/ 0 w 6552595"/>
              <a:gd name="connsiteY6" fmla="*/ 1037361 h 3112082"/>
              <a:gd name="connsiteX7" fmla="*/ 0 w 6552595"/>
              <a:gd name="connsiteY7" fmla="*/ 0 h 3112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52595" h="3112082">
                <a:moveTo>
                  <a:pt x="6552595" y="0"/>
                </a:moveTo>
                <a:lnTo>
                  <a:pt x="6479403" y="116338"/>
                </a:lnTo>
                <a:cubicBezTo>
                  <a:pt x="6181653" y="532833"/>
                  <a:pt x="5587528" y="785625"/>
                  <a:pt x="4627940" y="645238"/>
                </a:cubicBezTo>
                <a:cubicBezTo>
                  <a:pt x="3343367" y="460619"/>
                  <a:pt x="1347900" y="971915"/>
                  <a:pt x="631580" y="1915852"/>
                </a:cubicBezTo>
                <a:cubicBezTo>
                  <a:pt x="407731" y="2210834"/>
                  <a:pt x="204970" y="2565624"/>
                  <a:pt x="46252" y="2980209"/>
                </a:cubicBezTo>
                <a:lnTo>
                  <a:pt x="0" y="3112082"/>
                </a:lnTo>
                <a:lnTo>
                  <a:pt x="0" y="103736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76000">
                <a:schemeClr val="accent3">
                  <a:lumMod val="25000"/>
                </a:schemeClr>
              </a:gs>
              <a:gs pos="0">
                <a:schemeClr val="accent1">
                  <a:alpha val="56738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9D045F5-266F-9ADF-9692-2DA7DB16DFFE}"/>
              </a:ext>
            </a:extLst>
          </p:cNvPr>
          <p:cNvSpPr/>
          <p:nvPr userDrawn="1"/>
        </p:nvSpPr>
        <p:spPr>
          <a:xfrm>
            <a:off x="10269564" y="0"/>
            <a:ext cx="1922436" cy="5772376"/>
          </a:xfrm>
          <a:custGeom>
            <a:avLst/>
            <a:gdLst>
              <a:gd name="connsiteX0" fmla="*/ 0 w 1922436"/>
              <a:gd name="connsiteY0" fmla="*/ 0 h 5772376"/>
              <a:gd name="connsiteX1" fmla="*/ 1922436 w 1922436"/>
              <a:gd name="connsiteY1" fmla="*/ 0 h 5772376"/>
              <a:gd name="connsiteX2" fmla="*/ 1922436 w 1922436"/>
              <a:gd name="connsiteY2" fmla="*/ 5770832 h 5772376"/>
              <a:gd name="connsiteX3" fmla="*/ 1785843 w 1922436"/>
              <a:gd name="connsiteY3" fmla="*/ 5772376 h 5772376"/>
              <a:gd name="connsiteX4" fmla="*/ 167636 w 1922436"/>
              <a:gd name="connsiteY4" fmla="*/ 2958760 h 5772376"/>
              <a:gd name="connsiteX5" fmla="*/ 11457 w 1922436"/>
              <a:gd name="connsiteY5" fmla="*/ 41049 h 5772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22436" h="5772376">
                <a:moveTo>
                  <a:pt x="0" y="0"/>
                </a:moveTo>
                <a:lnTo>
                  <a:pt x="1922436" y="0"/>
                </a:lnTo>
                <a:lnTo>
                  <a:pt x="1922436" y="5770832"/>
                </a:lnTo>
                <a:lnTo>
                  <a:pt x="1785843" y="5772376"/>
                </a:lnTo>
                <a:cubicBezTo>
                  <a:pt x="715486" y="5737436"/>
                  <a:pt x="-199675" y="4895626"/>
                  <a:pt x="167636" y="2958760"/>
                </a:cubicBezTo>
                <a:cubicBezTo>
                  <a:pt x="324540" y="2119813"/>
                  <a:pt x="262661" y="1037667"/>
                  <a:pt x="11457" y="41049"/>
                </a:cubicBezTo>
                <a:close/>
              </a:path>
            </a:pathLst>
          </a:custGeom>
          <a:gradFill flip="none" rotWithShape="1">
            <a:gsLst>
              <a:gs pos="10000">
                <a:schemeClr val="accent2">
                  <a:alpha val="9960"/>
                </a:schemeClr>
              </a:gs>
              <a:gs pos="100000">
                <a:schemeClr val="accent1">
                  <a:alpha val="47557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A494E50-F563-24E6-92E6-F9E55D1F3D50}"/>
              </a:ext>
            </a:extLst>
          </p:cNvPr>
          <p:cNvSpPr/>
          <p:nvPr userDrawn="1"/>
        </p:nvSpPr>
        <p:spPr>
          <a:xfrm>
            <a:off x="10861332" y="0"/>
            <a:ext cx="1330669" cy="3088658"/>
          </a:xfrm>
          <a:custGeom>
            <a:avLst/>
            <a:gdLst>
              <a:gd name="connsiteX0" fmla="*/ 0 w 1330669"/>
              <a:gd name="connsiteY0" fmla="*/ 0 h 3088658"/>
              <a:gd name="connsiteX1" fmla="*/ 1330669 w 1330669"/>
              <a:gd name="connsiteY1" fmla="*/ 0 h 3088658"/>
              <a:gd name="connsiteX2" fmla="*/ 1330669 w 1330669"/>
              <a:gd name="connsiteY2" fmla="*/ 3088658 h 3088658"/>
              <a:gd name="connsiteX3" fmla="*/ 1265038 w 1330669"/>
              <a:gd name="connsiteY3" fmla="*/ 3075052 h 3088658"/>
              <a:gd name="connsiteX4" fmla="*/ 84101 w 1330669"/>
              <a:gd name="connsiteY4" fmla="*/ 918166 h 3088658"/>
              <a:gd name="connsiteX5" fmla="*/ 3100 w 1330669"/>
              <a:gd name="connsiteY5" fmla="*/ 15153 h 3088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0669" h="3088658">
                <a:moveTo>
                  <a:pt x="0" y="0"/>
                </a:moveTo>
                <a:lnTo>
                  <a:pt x="1330669" y="0"/>
                </a:lnTo>
                <a:lnTo>
                  <a:pt x="1330669" y="3088658"/>
                </a:lnTo>
                <a:lnTo>
                  <a:pt x="1265038" y="3075052"/>
                </a:lnTo>
                <a:cubicBezTo>
                  <a:pt x="597017" y="2898062"/>
                  <a:pt x="64513" y="2241595"/>
                  <a:pt x="84101" y="918166"/>
                </a:cubicBezTo>
                <a:cubicBezTo>
                  <a:pt x="87550" y="637183"/>
                  <a:pt x="59230" y="331259"/>
                  <a:pt x="3100" y="15153"/>
                </a:cubicBezTo>
                <a:close/>
              </a:path>
            </a:pathLst>
          </a:custGeom>
          <a:solidFill>
            <a:schemeClr val="accent1">
              <a:alpha val="50635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glass card">
            <a:extLst>
              <a:ext uri="{FF2B5EF4-FFF2-40B4-BE49-F238E27FC236}">
                <a16:creationId xmlns:a16="http://schemas.microsoft.com/office/drawing/2014/main" id="{D9024B22-C102-71C1-8593-95259EC18972}"/>
              </a:ext>
            </a:extLst>
          </p:cNvPr>
          <p:cNvSpPr/>
          <p:nvPr userDrawn="1"/>
        </p:nvSpPr>
        <p:spPr>
          <a:xfrm>
            <a:off x="1474384" y="1005155"/>
            <a:ext cx="9243233" cy="4978750"/>
          </a:xfrm>
          <a:prstGeom prst="roundRect">
            <a:avLst>
              <a:gd name="adj" fmla="val 6806"/>
            </a:avLst>
          </a:prstGeom>
          <a:gradFill>
            <a:gsLst>
              <a:gs pos="99000">
                <a:schemeClr val="bg1">
                  <a:alpha val="3000"/>
                </a:schemeClr>
              </a:gs>
              <a:gs pos="46000">
                <a:schemeClr val="bg1">
                  <a:alpha val="17037"/>
                </a:schemeClr>
              </a:gs>
              <a:gs pos="6000">
                <a:schemeClr val="bg1">
                  <a:alpha val="13000"/>
                </a:schemeClr>
              </a:gs>
            </a:gsLst>
            <a:path path="circle">
              <a:fillToRect l="100000" t="100000"/>
            </a:path>
          </a:gradFill>
          <a:ln w="6350">
            <a:noFill/>
          </a:ln>
          <a:effectLst>
            <a:outerShdw blurRad="63500" dist="38100" dir="5400000" sx="1000" sy="1000" algn="t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28088" y="2157984"/>
            <a:ext cx="7735824" cy="1069848"/>
          </a:xfrm>
        </p:spPr>
        <p:txBody>
          <a:bodyPr anchor="b">
            <a:no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28088" y="3685032"/>
            <a:ext cx="7735824" cy="1133856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A78F28F-70CE-7FE2-ACE1-FA2D7C1CE590}"/>
              </a:ext>
            </a:extLst>
          </p:cNvPr>
          <p:cNvSpPr/>
          <p:nvPr userDrawn="1"/>
        </p:nvSpPr>
        <p:spPr>
          <a:xfrm>
            <a:off x="0" y="0"/>
            <a:ext cx="2862855" cy="1527696"/>
          </a:xfrm>
          <a:custGeom>
            <a:avLst/>
            <a:gdLst>
              <a:gd name="connsiteX0" fmla="*/ 0 w 2862855"/>
              <a:gd name="connsiteY0" fmla="*/ 0 h 1527696"/>
              <a:gd name="connsiteX1" fmla="*/ 2862855 w 2862855"/>
              <a:gd name="connsiteY1" fmla="*/ 0 h 1527696"/>
              <a:gd name="connsiteX2" fmla="*/ 2757362 w 2862855"/>
              <a:gd name="connsiteY2" fmla="*/ 85011 h 1527696"/>
              <a:gd name="connsiteX3" fmla="*/ 1949659 w 2862855"/>
              <a:gd name="connsiteY3" fmla="*/ 424032 h 1527696"/>
              <a:gd name="connsiteX4" fmla="*/ 170555 w 2862855"/>
              <a:gd name="connsiteY4" fmla="*/ 1373059 h 1527696"/>
              <a:gd name="connsiteX5" fmla="*/ 0 w 2862855"/>
              <a:gd name="connsiteY5" fmla="*/ 1527696 h 1527696"/>
              <a:gd name="connsiteX6" fmla="*/ 0 w 2862855"/>
              <a:gd name="connsiteY6" fmla="*/ 872969 h 1527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2855" h="1527696">
                <a:moveTo>
                  <a:pt x="0" y="0"/>
                </a:moveTo>
                <a:lnTo>
                  <a:pt x="2862855" y="0"/>
                </a:lnTo>
                <a:lnTo>
                  <a:pt x="2757362" y="85011"/>
                </a:lnTo>
                <a:cubicBezTo>
                  <a:pt x="2560942" y="227521"/>
                  <a:pt x="2295416" y="345289"/>
                  <a:pt x="1949659" y="424032"/>
                </a:cubicBezTo>
                <a:cubicBezTo>
                  <a:pt x="1377417" y="555874"/>
                  <a:pt x="700343" y="918207"/>
                  <a:pt x="170555" y="1373059"/>
                </a:cubicBezTo>
                <a:lnTo>
                  <a:pt x="0" y="1527696"/>
                </a:lnTo>
                <a:lnTo>
                  <a:pt x="0" y="872969"/>
                </a:lnTo>
                <a:close/>
              </a:path>
            </a:pathLst>
          </a:custGeom>
          <a:gradFill flip="none" rotWithShape="1">
            <a:gsLst>
              <a:gs pos="100000">
                <a:schemeClr val="accent3">
                  <a:lumMod val="25000"/>
                  <a:alpha val="40000"/>
                </a:schemeClr>
              </a:gs>
              <a:gs pos="0">
                <a:schemeClr val="accent4">
                  <a:alpha val="69786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94AB31D-FEF2-F3B0-D726-81CE48F895EA}"/>
              </a:ext>
            </a:extLst>
          </p:cNvPr>
          <p:cNvSpPr/>
          <p:nvPr userDrawn="1"/>
        </p:nvSpPr>
        <p:spPr>
          <a:xfrm>
            <a:off x="2" y="4761091"/>
            <a:ext cx="3131151" cy="2096908"/>
          </a:xfrm>
          <a:custGeom>
            <a:avLst/>
            <a:gdLst>
              <a:gd name="connsiteX0" fmla="*/ 186163 w 3131151"/>
              <a:gd name="connsiteY0" fmla="*/ 0 h 2096908"/>
              <a:gd name="connsiteX1" fmla="*/ 2469297 w 3131151"/>
              <a:gd name="connsiteY1" fmla="*/ 1411265 h 2096908"/>
              <a:gd name="connsiteX2" fmla="*/ 3026909 w 3131151"/>
              <a:gd name="connsiteY2" fmla="*/ 2004423 h 2096908"/>
              <a:gd name="connsiteX3" fmla="*/ 3131151 w 3131151"/>
              <a:gd name="connsiteY3" fmla="*/ 2096908 h 2096908"/>
              <a:gd name="connsiteX4" fmla="*/ 0 w 3131151"/>
              <a:gd name="connsiteY4" fmla="*/ 2096908 h 2096908"/>
              <a:gd name="connsiteX5" fmla="*/ 0 w 3131151"/>
              <a:gd name="connsiteY5" fmla="*/ 4640 h 2096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31151" h="2096908">
                <a:moveTo>
                  <a:pt x="186163" y="0"/>
                </a:moveTo>
                <a:cubicBezTo>
                  <a:pt x="883663" y="24692"/>
                  <a:pt x="1675023" y="432572"/>
                  <a:pt x="2469297" y="1411265"/>
                </a:cubicBezTo>
                <a:cubicBezTo>
                  <a:pt x="2632187" y="1610943"/>
                  <a:pt x="2819757" y="1809855"/>
                  <a:pt x="3026909" y="2004423"/>
                </a:cubicBezTo>
                <a:lnTo>
                  <a:pt x="3131151" y="2096908"/>
                </a:lnTo>
                <a:lnTo>
                  <a:pt x="0" y="2096908"/>
                </a:lnTo>
                <a:lnTo>
                  <a:pt x="0" y="4640"/>
                </a:lnTo>
                <a:close/>
              </a:path>
            </a:pathLst>
          </a:custGeom>
          <a:gradFill flip="none" rotWithShape="1">
            <a:gsLst>
              <a:gs pos="47000">
                <a:schemeClr val="accent6">
                  <a:alpha val="51365"/>
                </a:schemeClr>
              </a:gs>
              <a:gs pos="100000">
                <a:schemeClr val="accent4">
                  <a:alpha val="24386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5" name="Picture 4" descr="A blue and white logo&#10;&#10;Description automatically generated">
            <a:extLst>
              <a:ext uri="{FF2B5EF4-FFF2-40B4-BE49-F238E27FC236}">
                <a16:creationId xmlns:a16="http://schemas.microsoft.com/office/drawing/2014/main" id="{C0B3A86A-C89A-486E-4257-E716E02A25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28AFDCBE-B526-47AB-A0CB-412E4D1E77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4" name="Picture 3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F3D86AB2-40E0-1621-DF1F-EA934E2D05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8" name="Picture 7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34C82559-9474-5C9F-3528-9D21A789B2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076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FA2E8-50A1-4465-AC33-6FAC0E773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824" y="1856232"/>
            <a:ext cx="4718304" cy="1069848"/>
          </a:xfrm>
        </p:spPr>
        <p:txBody>
          <a:bodyPr anchor="b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1968" y="3374136"/>
            <a:ext cx="4709160" cy="2395728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907BDD9A-3C2A-A21B-A425-1BB45BF5C103}"/>
              </a:ext>
            </a:extLst>
          </p:cNvPr>
          <p:cNvSpPr/>
          <p:nvPr userDrawn="1"/>
        </p:nvSpPr>
        <p:spPr>
          <a:xfrm rot="5400000" flipH="1" flipV="1">
            <a:off x="-1248967" y="1248969"/>
            <a:ext cx="6858000" cy="4360065"/>
          </a:xfrm>
          <a:custGeom>
            <a:avLst/>
            <a:gdLst>
              <a:gd name="connsiteX0" fmla="*/ 6858000 w 6858000"/>
              <a:gd name="connsiteY0" fmla="*/ 0 h 4360065"/>
              <a:gd name="connsiteX1" fmla="*/ 6858000 w 6858000"/>
              <a:gd name="connsiteY1" fmla="*/ 4019634 h 4360065"/>
              <a:gd name="connsiteX2" fmla="*/ 6786526 w 6858000"/>
              <a:gd name="connsiteY2" fmla="*/ 3987694 h 4360065"/>
              <a:gd name="connsiteX3" fmla="*/ 4380589 w 6858000"/>
              <a:gd name="connsiteY3" fmla="*/ 3270469 h 4360065"/>
              <a:gd name="connsiteX4" fmla="*/ 1148443 w 6858000"/>
              <a:gd name="connsiteY4" fmla="*/ 4360028 h 4360065"/>
              <a:gd name="connsiteX5" fmla="*/ 93033 w 6858000"/>
              <a:gd name="connsiteY5" fmla="*/ 4174462 h 4360065"/>
              <a:gd name="connsiteX6" fmla="*/ 0 w 6858000"/>
              <a:gd name="connsiteY6" fmla="*/ 4134599 h 4360065"/>
              <a:gd name="connsiteX7" fmla="*/ 0 w 6858000"/>
              <a:gd name="connsiteY7" fmla="*/ 0 h 4360065"/>
              <a:gd name="connsiteX8" fmla="*/ 6858000 w 6858000"/>
              <a:gd name="connsiteY8" fmla="*/ 0 h 4360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58000" h="4360065">
                <a:moveTo>
                  <a:pt x="6858000" y="0"/>
                </a:moveTo>
                <a:lnTo>
                  <a:pt x="6858000" y="4019634"/>
                </a:lnTo>
                <a:lnTo>
                  <a:pt x="6786526" y="3987694"/>
                </a:lnTo>
                <a:cubicBezTo>
                  <a:pt x="6330423" y="3769997"/>
                  <a:pt x="5587519" y="3251791"/>
                  <a:pt x="4380589" y="3270469"/>
                </a:cubicBezTo>
                <a:cubicBezTo>
                  <a:pt x="3001241" y="3291816"/>
                  <a:pt x="2442968" y="4353863"/>
                  <a:pt x="1148443" y="4360028"/>
                </a:cubicBezTo>
                <a:cubicBezTo>
                  <a:pt x="743904" y="4361955"/>
                  <a:pt x="389317" y="4288650"/>
                  <a:pt x="93033" y="4174462"/>
                </a:cubicBezTo>
                <a:lnTo>
                  <a:pt x="0" y="4134599"/>
                </a:lnTo>
                <a:lnTo>
                  <a:pt x="0" y="0"/>
                </a:lnTo>
                <a:lnTo>
                  <a:pt x="6858000" y="0"/>
                </a:lnTo>
                <a:close/>
              </a:path>
            </a:pathLst>
          </a:custGeom>
          <a:solidFill>
            <a:schemeClr val="accent4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Freeform 16">
            <a:extLst>
              <a:ext uri="{FF2B5EF4-FFF2-40B4-BE49-F238E27FC236}">
                <a16:creationId xmlns:a16="http://schemas.microsoft.com/office/drawing/2014/main" id="{989D7F61-B47A-97D5-F725-EC5EFE81187A}"/>
              </a:ext>
            </a:extLst>
          </p:cNvPr>
          <p:cNvSpPr/>
          <p:nvPr userDrawn="1"/>
        </p:nvSpPr>
        <p:spPr>
          <a:xfrm rot="16200000" flipH="1">
            <a:off x="-952024" y="952025"/>
            <a:ext cx="6858000" cy="4953950"/>
          </a:xfrm>
          <a:custGeom>
            <a:avLst/>
            <a:gdLst>
              <a:gd name="connsiteX0" fmla="*/ 0 w 6858000"/>
              <a:gd name="connsiteY0" fmla="*/ 0 h 4953950"/>
              <a:gd name="connsiteX1" fmla="*/ 0 w 6858000"/>
              <a:gd name="connsiteY1" fmla="*/ 4289773 h 4953950"/>
              <a:gd name="connsiteX2" fmla="*/ 181159 w 6858000"/>
              <a:gd name="connsiteY2" fmla="*/ 4411259 h 4953950"/>
              <a:gd name="connsiteX3" fmla="*/ 2222746 w 6858000"/>
              <a:gd name="connsiteY3" fmla="*/ 4953891 h 4953950"/>
              <a:gd name="connsiteX4" fmla="*/ 6808516 w 6858000"/>
              <a:gd name="connsiteY4" fmla="*/ 3223031 h 4953950"/>
              <a:gd name="connsiteX5" fmla="*/ 6858000 w 6858000"/>
              <a:gd name="connsiteY5" fmla="*/ 3220931 h 4953950"/>
              <a:gd name="connsiteX6" fmla="*/ 6858000 w 6858000"/>
              <a:gd name="connsiteY6" fmla="*/ 0 h 4953950"/>
              <a:gd name="connsiteX7" fmla="*/ 0 w 6858000"/>
              <a:gd name="connsiteY7" fmla="*/ 0 h 4953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4953950">
                <a:moveTo>
                  <a:pt x="0" y="0"/>
                </a:moveTo>
                <a:lnTo>
                  <a:pt x="0" y="4289773"/>
                </a:lnTo>
                <a:lnTo>
                  <a:pt x="181159" y="4411259"/>
                </a:lnTo>
                <a:cubicBezTo>
                  <a:pt x="694541" y="4727180"/>
                  <a:pt x="1386349" y="4958196"/>
                  <a:pt x="2222746" y="4953891"/>
                </a:cubicBezTo>
                <a:cubicBezTo>
                  <a:pt x="4074768" y="4944360"/>
                  <a:pt x="4906383" y="3353427"/>
                  <a:pt x="6808516" y="3223031"/>
                </a:cubicBezTo>
                <a:lnTo>
                  <a:pt x="6858000" y="3220931"/>
                </a:lnTo>
                <a:lnTo>
                  <a:pt x="685800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0000">
                <a:schemeClr val="accent6">
                  <a:alpha val="52965"/>
                </a:schemeClr>
              </a:gs>
              <a:gs pos="90000">
                <a:schemeClr val="accent5">
                  <a:lumMod val="50000"/>
                  <a:alpha val="72473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17">
            <a:extLst>
              <a:ext uri="{FF2B5EF4-FFF2-40B4-BE49-F238E27FC236}">
                <a16:creationId xmlns:a16="http://schemas.microsoft.com/office/drawing/2014/main" id="{A70008D0-0FB3-5B8D-3060-6EDD9E247095}"/>
              </a:ext>
            </a:extLst>
          </p:cNvPr>
          <p:cNvSpPr/>
          <p:nvPr userDrawn="1"/>
        </p:nvSpPr>
        <p:spPr>
          <a:xfrm rot="16200000" flipH="1">
            <a:off x="-1513890" y="1513891"/>
            <a:ext cx="6858000" cy="3830219"/>
          </a:xfrm>
          <a:custGeom>
            <a:avLst/>
            <a:gdLst>
              <a:gd name="connsiteX0" fmla="*/ 0 w 6858000"/>
              <a:gd name="connsiteY0" fmla="*/ 0 h 3830219"/>
              <a:gd name="connsiteX1" fmla="*/ 0 w 6858000"/>
              <a:gd name="connsiteY1" fmla="*/ 2994317 h 3830219"/>
              <a:gd name="connsiteX2" fmla="*/ 150933 w 6858000"/>
              <a:gd name="connsiteY2" fmla="*/ 2952927 h 3830219"/>
              <a:gd name="connsiteX3" fmla="*/ 533317 w 6858000"/>
              <a:gd name="connsiteY3" fmla="*/ 2907735 h 3830219"/>
              <a:gd name="connsiteX4" fmla="*/ 2516906 w 6858000"/>
              <a:gd name="connsiteY4" fmla="*/ 3558655 h 3830219"/>
              <a:gd name="connsiteX5" fmla="*/ 2542419 w 6858000"/>
              <a:gd name="connsiteY5" fmla="*/ 3568616 h 3830219"/>
              <a:gd name="connsiteX6" fmla="*/ 2607100 w 6858000"/>
              <a:gd name="connsiteY6" fmla="*/ 3608308 h 3830219"/>
              <a:gd name="connsiteX7" fmla="*/ 3580199 w 6858000"/>
              <a:gd name="connsiteY7" fmla="*/ 3830188 h 3830219"/>
              <a:gd name="connsiteX8" fmla="*/ 6145368 w 6858000"/>
              <a:gd name="connsiteY8" fmla="*/ 2895740 h 3830219"/>
              <a:gd name="connsiteX9" fmla="*/ 6711794 w 6858000"/>
              <a:gd name="connsiteY9" fmla="*/ 2941805 h 3830219"/>
              <a:gd name="connsiteX10" fmla="*/ 6858000 w 6858000"/>
              <a:gd name="connsiteY10" fmla="*/ 2973381 h 3830219"/>
              <a:gd name="connsiteX11" fmla="*/ 6858000 w 6858000"/>
              <a:gd name="connsiteY11" fmla="*/ 0 h 3830219"/>
              <a:gd name="connsiteX12" fmla="*/ 0 w 6858000"/>
              <a:gd name="connsiteY12" fmla="*/ 0 h 3830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8000" h="3830219">
                <a:moveTo>
                  <a:pt x="0" y="0"/>
                </a:moveTo>
                <a:lnTo>
                  <a:pt x="0" y="2994317"/>
                </a:lnTo>
                <a:lnTo>
                  <a:pt x="150933" y="2952927"/>
                </a:lnTo>
                <a:cubicBezTo>
                  <a:pt x="269822" y="2926258"/>
                  <a:pt x="396478" y="2910024"/>
                  <a:pt x="533317" y="2907735"/>
                </a:cubicBezTo>
                <a:cubicBezTo>
                  <a:pt x="1559606" y="2890571"/>
                  <a:pt x="2163137" y="3401988"/>
                  <a:pt x="2516906" y="3558655"/>
                </a:cubicBezTo>
                <a:lnTo>
                  <a:pt x="2542419" y="3568616"/>
                </a:lnTo>
                <a:lnTo>
                  <a:pt x="2607100" y="3608308"/>
                </a:lnTo>
                <a:cubicBezTo>
                  <a:pt x="2866745" y="3741243"/>
                  <a:pt x="3194928" y="3832171"/>
                  <a:pt x="3580199" y="3830188"/>
                </a:cubicBezTo>
                <a:cubicBezTo>
                  <a:pt x="4607589" y="3824901"/>
                  <a:pt x="5050658" y="2914049"/>
                  <a:pt x="6145368" y="2895740"/>
                </a:cubicBezTo>
                <a:cubicBezTo>
                  <a:pt x="6350626" y="2892307"/>
                  <a:pt x="6538973" y="2910018"/>
                  <a:pt x="6711794" y="2941805"/>
                </a:cubicBezTo>
                <a:lnTo>
                  <a:pt x="6858000" y="2973381"/>
                </a:lnTo>
                <a:lnTo>
                  <a:pt x="6858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5000">
                <a:schemeClr val="accent6">
                  <a:alpha val="29951"/>
                </a:schemeClr>
              </a:gs>
              <a:gs pos="99000">
                <a:schemeClr val="accent4">
                  <a:lumMod val="75000"/>
                  <a:alpha val="2734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A6FFAC-0E5C-DA2F-C0F9-D5602F928AE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7545111" y="2275586"/>
            <a:ext cx="0" cy="165518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blue and white logo&#10;&#10;Description automatically generated">
            <a:extLst>
              <a:ext uri="{FF2B5EF4-FFF2-40B4-BE49-F238E27FC236}">
                <a16:creationId xmlns:a16="http://schemas.microsoft.com/office/drawing/2014/main" id="{4027F928-128F-B64E-556E-5FCE301CDE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191" y="100950"/>
            <a:ext cx="548640" cy="548640"/>
          </a:xfrm>
          <a:prstGeom prst="rect">
            <a:avLst/>
          </a:prstGeom>
        </p:spPr>
      </p:pic>
      <p:pic>
        <p:nvPicPr>
          <p:cNvPr id="11" name="Picture 10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960E8103-F259-5FCB-A835-606B09F298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2308" y="192390"/>
            <a:ext cx="2041728" cy="455535"/>
          </a:xfrm>
          <a:prstGeom prst="rect">
            <a:avLst/>
          </a:prstGeom>
        </p:spPr>
      </p:pic>
      <p:pic>
        <p:nvPicPr>
          <p:cNvPr id="4" name="Picture 3" descr="A blue circle with white symbol in center&#10;&#10;AI-generated content may be incorrect.">
            <a:extLst>
              <a:ext uri="{FF2B5EF4-FFF2-40B4-BE49-F238E27FC236}">
                <a16:creationId xmlns:a16="http://schemas.microsoft.com/office/drawing/2014/main" id="{FDC3EF0D-D172-8DD3-7D9F-AD6F134A81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1" y="41512"/>
            <a:ext cx="761905" cy="761905"/>
          </a:xfrm>
          <a:prstGeom prst="rect">
            <a:avLst/>
          </a:prstGeom>
        </p:spPr>
      </p:pic>
      <p:pic>
        <p:nvPicPr>
          <p:cNvPr id="12" name="Picture 11" descr="A logo with hands holding a book&#10;&#10;AI-generated content may be incorrect.">
            <a:extLst>
              <a:ext uri="{FF2B5EF4-FFF2-40B4-BE49-F238E27FC236}">
                <a16:creationId xmlns:a16="http://schemas.microsoft.com/office/drawing/2014/main" id="{E72D4B64-ED64-A3A6-8F57-17AC44D3FC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28" y="22056"/>
            <a:ext cx="761905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852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D6CD8C-3F01-5296-D974-34AA2484D5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679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D6CD8C-3F01-5296-D974-34AA2484D5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832104"/>
            <a:ext cx="10881360" cy="10698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4984" y="2212848"/>
            <a:ext cx="10332720" cy="35478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41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74" r:id="rId5"/>
    <p:sldLayoutId id="2147483675" r:id="rId6"/>
    <p:sldLayoutId id="2147483676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cap="all" spc="6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347472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Courier New" panose="02070309020205020404" pitchFamily="49" charset="0"/>
        <a:buChar char="o"/>
        <a:defRPr sz="2800" kern="120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1pPr>
      <a:lvl2pPr marL="685800" indent="-347472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Courier New" panose="02070309020205020404" pitchFamily="49" charset="0"/>
        <a:buChar char="o"/>
        <a:defRPr sz="2400" kern="120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2pPr>
      <a:lvl3pPr marL="1143000" indent="-347472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Courier New" panose="02070309020205020404" pitchFamily="49" charset="0"/>
        <a:buChar char="o"/>
        <a:defRPr sz="2000" kern="120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3pPr>
      <a:lvl4pPr marL="1600200" indent="-347472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Courier New" panose="02070309020205020404" pitchFamily="49" charset="0"/>
        <a:buChar char="o"/>
        <a:defRPr sz="1800" kern="120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4pPr>
      <a:lvl5pPr marL="2057400" indent="-347472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Courier New" panose="02070309020205020404" pitchFamily="49" charset="0"/>
        <a:buChar char="o"/>
        <a:defRPr sz="1800" kern="120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3960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e and white text on a black background&#10;&#10;AI-generated content may be incorrect.">
            <a:extLst>
              <a:ext uri="{FF2B5EF4-FFF2-40B4-BE49-F238E27FC236}">
                <a16:creationId xmlns:a16="http://schemas.microsoft.com/office/drawing/2014/main" id="{F8759578-C3F0-66AE-55E4-25669F23EF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40"/>
          <a:stretch>
            <a:fillRect/>
          </a:stretch>
        </p:blipFill>
        <p:spPr>
          <a:xfrm>
            <a:off x="0" y="894302"/>
            <a:ext cx="12192000" cy="596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91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66C4F-0A0B-046B-B119-C57596043F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extBox 1">
            <a:extLst>
              <a:ext uri="{FF2B5EF4-FFF2-40B4-BE49-F238E27FC236}">
                <a16:creationId xmlns:a16="http://schemas.microsoft.com/office/drawing/2014/main" id="{BFA74580-D0B5-53BA-875E-6809E3537A2E}"/>
              </a:ext>
            </a:extLst>
          </p:cNvPr>
          <p:cNvSpPr txBox="1"/>
          <p:nvPr/>
        </p:nvSpPr>
        <p:spPr>
          <a:xfrm>
            <a:off x="506644" y="1312499"/>
            <a:ext cx="10415913" cy="4401205"/>
          </a:xfrm>
          <a:prstGeom prst="rect">
            <a:avLst/>
          </a:prstGeom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o-RO" sz="2400" b="1" dirty="0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2400" b="1" dirty="0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o-RO" sz="2400" b="1" dirty="0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00</a:t>
            </a:r>
            <a:r>
              <a:rPr lang="en-US" sz="2400" b="1" dirty="0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14:00 | </a:t>
            </a:r>
            <a:r>
              <a:rPr lang="en-US" sz="2400" b="1" dirty="0" err="1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ven</a:t>
            </a:r>
            <a:r>
              <a:rPr lang="ro-RO" sz="2400" b="1" dirty="0">
                <a:solidFill>
                  <a:schemeClr val="bg1"/>
                </a:solidFill>
                <a:highlight>
                  <a:srgbClr val="0000FF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ții ale companiilor partenere</a:t>
            </a:r>
            <a:endParaRPr lang="en-US" sz="2400" b="1" dirty="0">
              <a:solidFill>
                <a:schemeClr val="bg1"/>
              </a:solidFill>
              <a:highlight>
                <a:srgbClr val="0000FF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ro-RO" sz="1600" b="1" dirty="0">
              <a:solidFill>
                <a:schemeClr val="bg1"/>
              </a:solidFill>
              <a:highlight>
                <a:srgbClr val="9673A6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ena Cosma – NCC-RO –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ntrul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țional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ordonare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n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meniul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urității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bernetice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ana-Alisa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șavel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DNS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gdan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leanu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net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orge </a:t>
            </a:r>
            <a:r>
              <a:rPr lang="ro-RO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ica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Lab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rvices &amp;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ălin Rangu –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itutul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ncar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mân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venție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l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stin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abaș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versX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zar Teodor – GMB Compu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ătălin Moisei – Euro Testing Software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Marius Petcu &amp; Krasimir </a:t>
            </a:r>
            <a:r>
              <a:rPr lang="en-US" sz="2000" dirty="0" err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Kotsev</a:t>
            </a:r>
            <a:r>
              <a:rPr lang="en-US" sz="20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 – </a:t>
            </a:r>
            <a:r>
              <a:rPr lang="en-US" sz="2000" dirty="0" err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SoCyber</a:t>
            </a:r>
            <a:r>
              <a:rPr lang="en-US" sz="20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 &amp; Kikimora.io (</a:t>
            </a:r>
            <a:r>
              <a:rPr lang="en-US" sz="2000" dirty="0" err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intervenție</a:t>
            </a:r>
            <a:r>
              <a:rPr lang="en-US" sz="20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 onl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Cătălin Anghel – Crucial Systems &amp; Services</a:t>
            </a:r>
            <a:endParaRPr lang="ro-RO" sz="2000" dirty="0">
              <a:solidFill>
                <a:schemeClr val="bg1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us Moldovan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și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ul 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ldeanu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Bit-Senti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meo Ilie – Active Tech Syste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7E2603-370C-95C2-0A42-CFA2BF3394F4}"/>
              </a:ext>
            </a:extLst>
          </p:cNvPr>
          <p:cNvSpPr txBox="1"/>
          <p:nvPr/>
        </p:nvSpPr>
        <p:spPr>
          <a:xfrm>
            <a:off x="506645" y="877144"/>
            <a:ext cx="43874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o-RO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DA SESIUNE </a:t>
            </a:r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ent</a:t>
            </a:r>
            <a:r>
              <a:rPr lang="ro-RO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o-RO" sz="24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ters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959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31CFB-DF30-88C3-8E50-532F2BE06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oster with text and images&#10;&#10;AI-generated content may be incorrect.">
            <a:extLst>
              <a:ext uri="{FF2B5EF4-FFF2-40B4-BE49-F238E27FC236}">
                <a16:creationId xmlns:a16="http://schemas.microsoft.com/office/drawing/2014/main" id="{B06AB72C-CA33-C3A8-D675-2725E74B1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224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E7003-165B-2CD6-EC74-C40511EE7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0E28D6-6DC9-E03E-6FB7-2D5B28FAA2BD}"/>
              </a:ext>
            </a:extLst>
          </p:cNvPr>
          <p:cNvSpPr txBox="1"/>
          <p:nvPr/>
        </p:nvSpPr>
        <p:spPr>
          <a:xfrm>
            <a:off x="2722420" y="5520756"/>
            <a:ext cx="3201987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RO" u="sng" dirty="0">
                <a:solidFill>
                  <a:schemeClr val="bg1"/>
                </a:solidFill>
                <a:latin typeface="Tw Cen MT (Headings)"/>
                <a:ea typeface="Open Sans Light"/>
                <a:cs typeface="Open Sans Light"/>
              </a:rPr>
              <a:t>https://practic.univ-ovidius.ro/</a:t>
            </a:r>
            <a:endParaRPr lang="en-US" u="sng" dirty="0">
              <a:solidFill>
                <a:schemeClr val="bg1"/>
              </a:solidFill>
              <a:latin typeface="Tw Cen MT (Headings)"/>
              <a:ea typeface="Open Sans Light"/>
              <a:cs typeface="Open Sans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F529E-65D8-F1F9-F0BD-9B5BA33A38C3}"/>
              </a:ext>
            </a:extLst>
          </p:cNvPr>
          <p:cNvGrpSpPr/>
          <p:nvPr/>
        </p:nvGrpSpPr>
        <p:grpSpPr>
          <a:xfrm>
            <a:off x="4590516" y="5208851"/>
            <a:ext cx="4188102" cy="681237"/>
            <a:chOff x="4414360" y="2945426"/>
            <a:chExt cx="4188102" cy="68123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3EAA4-2DEB-32EA-B0C9-A5A72FF69710}"/>
                </a:ext>
              </a:extLst>
            </p:cNvPr>
            <p:cNvSpPr/>
            <p:nvPr/>
          </p:nvSpPr>
          <p:spPr>
            <a:xfrm>
              <a:off x="6550781" y="2945426"/>
              <a:ext cx="2051681" cy="356685"/>
            </a:xfrm>
            <a:prstGeom prst="rect">
              <a:avLst/>
            </a:prstGeom>
            <a:solidFill>
              <a:srgbClr val="1028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0FC2EE4-BF04-A8E0-E6A5-40E61B4709E0}"/>
                </a:ext>
              </a:extLst>
            </p:cNvPr>
            <p:cNvSpPr txBox="1"/>
            <p:nvPr/>
          </p:nvSpPr>
          <p:spPr>
            <a:xfrm>
              <a:off x="4414360" y="3257331"/>
              <a:ext cx="4008061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r"/>
              <a:r>
                <a:rPr lang="en-RO" dirty="0">
                  <a:solidFill>
                    <a:schemeClr val="bg1"/>
                  </a:solidFill>
                  <a:latin typeface="Tw Cen MT (Headings)"/>
                  <a:ea typeface="Open Sans Light"/>
                  <a:cs typeface="Open Sans Light"/>
                </a:rPr>
                <a:t>practic@365.univ-ovidius.ro</a:t>
              </a:r>
              <a:endParaRPr lang="ro-RO" dirty="0">
                <a:solidFill>
                  <a:schemeClr val="bg1"/>
                </a:solidFill>
                <a:latin typeface="Tw Cen MT (Headings)"/>
                <a:ea typeface="Open Sans Light"/>
                <a:cs typeface="Open Sans Light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6EC0ECA-0E31-199E-51B7-230B57CDC3ED}"/>
              </a:ext>
            </a:extLst>
          </p:cNvPr>
          <p:cNvSpPr/>
          <p:nvPr/>
        </p:nvSpPr>
        <p:spPr>
          <a:xfrm>
            <a:off x="4120793" y="2783367"/>
            <a:ext cx="4424313" cy="841790"/>
          </a:xfrm>
          <a:prstGeom prst="rect">
            <a:avLst/>
          </a:prstGeom>
          <a:solidFill>
            <a:srgbClr val="1028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1DFCC-8AAD-A67A-831D-B006BD1C6BAB}"/>
              </a:ext>
            </a:extLst>
          </p:cNvPr>
          <p:cNvSpPr txBox="1"/>
          <p:nvPr/>
        </p:nvSpPr>
        <p:spPr>
          <a:xfrm>
            <a:off x="4665857" y="4114298"/>
            <a:ext cx="2227085" cy="120032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o-RO" b="1" dirty="0">
                <a:solidFill>
                  <a:schemeClr val="bg1"/>
                </a:solidFill>
              </a:rPr>
              <a:t>SCAN THE QR CODE</a:t>
            </a:r>
            <a:endParaRPr lang="en-US" dirty="0"/>
          </a:p>
          <a:p>
            <a:pPr algn="ctr"/>
            <a:r>
              <a:rPr lang="ro-RO" b="1" dirty="0">
                <a:solidFill>
                  <a:schemeClr val="bg1"/>
                </a:solidFill>
              </a:rPr>
              <a:t>TO DISCOVER</a:t>
            </a:r>
            <a:endParaRPr lang="ro-RO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PRACTIC@UOC</a:t>
            </a:r>
            <a:endParaRPr lang="ro-RO" dirty="0">
              <a:solidFill>
                <a:schemeClr val="bg1"/>
              </a:solidFill>
            </a:endParaRPr>
          </a:p>
          <a:p>
            <a:pPr algn="ctr"/>
            <a:endParaRPr lang="ro-RO" b="1" dirty="0">
              <a:solidFill>
                <a:schemeClr val="bg1"/>
              </a:solidFill>
              <a:cs typeface="Segoe UI Light"/>
            </a:endParaRPr>
          </a:p>
        </p:txBody>
      </p:sp>
      <p:pic>
        <p:nvPicPr>
          <p:cNvPr id="8" name="Picture 7" descr="A qr code with a few squares&#10;&#10;AI-generated content may be incorrect.">
            <a:extLst>
              <a:ext uri="{FF2B5EF4-FFF2-40B4-BE49-F238E27FC236}">
                <a16:creationId xmlns:a16="http://schemas.microsoft.com/office/drawing/2014/main" id="{B3B2262F-7DD0-B8CF-1499-DD3D941282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820" y="1399987"/>
            <a:ext cx="2615705" cy="261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345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43">
      <a:dk1>
        <a:srgbClr val="000000"/>
      </a:dk1>
      <a:lt1>
        <a:srgbClr val="FFFFFF"/>
      </a:lt1>
      <a:dk2>
        <a:srgbClr val="64DFED"/>
      </a:dk2>
      <a:lt2>
        <a:srgbClr val="E7E6E6"/>
      </a:lt2>
      <a:accent1>
        <a:srgbClr val="92CDF0"/>
      </a:accent1>
      <a:accent2>
        <a:srgbClr val="92CDF0"/>
      </a:accent2>
      <a:accent3>
        <a:srgbClr val="ABC3F0"/>
      </a:accent3>
      <a:accent4>
        <a:srgbClr val="C3B9F2"/>
      </a:accent4>
      <a:accent5>
        <a:srgbClr val="AAA5F9"/>
      </a:accent5>
      <a:accent6>
        <a:srgbClr val="F6A6F4"/>
      </a:accent6>
      <a:hlink>
        <a:srgbClr val="0563C1"/>
      </a:hlink>
      <a:folHlink>
        <a:srgbClr val="954F72"/>
      </a:folHlink>
    </a:clrScheme>
    <a:fontScheme name="Custom 39">
      <a:majorFont>
        <a:latin typeface="Tw Cen M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inancial-design_Win32_CP_v13" id="{7A406372-3134-432A-A498-73868680C33B}" vid="{88D369DF-875A-4C31-AFF3-DEF6B94343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5aede54-084f-4aab-9e24-adf1979f5a1c" xsi:nil="true"/>
    <lcf76f155ced4ddcb4097134ff3c332f xmlns="8b1fe606-daaf-4ebc-87a5-56ab6de25f3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849F09C392F844B4823C33345D6E80" ma:contentTypeVersion="14" ma:contentTypeDescription="Create a new document." ma:contentTypeScope="" ma:versionID="140fb29614840e492940e039644806b0">
  <xsd:schema xmlns:xsd="http://www.w3.org/2001/XMLSchema" xmlns:xs="http://www.w3.org/2001/XMLSchema" xmlns:p="http://schemas.microsoft.com/office/2006/metadata/properties" xmlns:ns2="8b1fe606-daaf-4ebc-87a5-56ab6de25f3b" xmlns:ns3="75aede54-084f-4aab-9e24-adf1979f5a1c" targetNamespace="http://schemas.microsoft.com/office/2006/metadata/properties" ma:root="true" ma:fieldsID="58c6938575f6f33bfe449e0db40a5450" ns2:_="" ns3:_="">
    <xsd:import namespace="8b1fe606-daaf-4ebc-87a5-56ab6de25f3b"/>
    <xsd:import namespace="75aede54-084f-4aab-9e24-adf1979f5a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1fe606-daaf-4ebc-87a5-56ab6de25f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01cf5fd-f2a2-4924-805e-68264094ff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ede54-084f-4aab-9e24-adf1979f5a1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f61f825-735a-432a-a4d4-b550a918cd6f}" ma:internalName="TaxCatchAll" ma:showField="CatchAllData" ma:web="75aede54-084f-4aab-9e24-adf1979f5a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6FA9E4-52CC-402F-A043-7FDA66B3C83E}">
  <ds:schemaRefs>
    <ds:schemaRef ds:uri="0d93c80a-5adf-40b0-8b74-899de14b821c"/>
    <ds:schemaRef ds:uri="6ea0d816-3196-43ea-924c-2295a59d7fd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5aede54-084f-4aab-9e24-adf1979f5a1c"/>
    <ds:schemaRef ds:uri="8b1fe606-daaf-4ebc-87a5-56ab6de25f3b"/>
  </ds:schemaRefs>
</ds:datastoreItem>
</file>

<file path=customXml/itemProps2.xml><?xml version="1.0" encoding="utf-8"?>
<ds:datastoreItem xmlns:ds="http://schemas.openxmlformats.org/officeDocument/2006/customXml" ds:itemID="{BAD2EE8C-8AD8-445C-9B7D-2AC3F23BC4E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D3ACF8-5529-4730-A670-D7634186B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1fe606-daaf-4ebc-87a5-56ab6de25f3b"/>
    <ds:schemaRef ds:uri="75aede54-084f-4aab-9e24-adf1979f5a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8</TotalTime>
  <Words>118</Words>
  <Application>Microsoft Office PowerPoint</Application>
  <PresentationFormat>Widescreen</PresentationFormat>
  <Paragraphs>20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2_Office Them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ropean Digital Innovation Hubs (EDIH) Network</dc:title>
  <dc:creator>Robert Savin</dc:creator>
  <cp:lastModifiedBy>Oana Roxana Radu</cp:lastModifiedBy>
  <cp:revision>33</cp:revision>
  <dcterms:created xsi:type="dcterms:W3CDTF">2024-01-15T13:38:07Z</dcterms:created>
  <dcterms:modified xsi:type="dcterms:W3CDTF">2025-11-11T22:1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849F09C392F844B4823C33345D6E80</vt:lpwstr>
  </property>
  <property fmtid="{D5CDD505-2E9C-101B-9397-08002B2CF9AE}" pid="3" name="MediaServiceImageTags">
    <vt:lpwstr/>
  </property>
</Properties>
</file>